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5.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6.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7.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8.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9.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3"/>
  </p:notesMasterIdLst>
  <p:handoutMasterIdLst>
    <p:handoutMasterId r:id="rId24"/>
  </p:handoutMasterIdLst>
  <p:sldIdLst>
    <p:sldId id="384" r:id="rId2"/>
    <p:sldId id="4983" r:id="rId3"/>
    <p:sldId id="5016" r:id="rId4"/>
    <p:sldId id="5017" r:id="rId5"/>
    <p:sldId id="4986" r:id="rId6"/>
    <p:sldId id="5000" r:id="rId7"/>
    <p:sldId id="5013" r:id="rId8"/>
    <p:sldId id="4998" r:id="rId9"/>
    <p:sldId id="5018" r:id="rId10"/>
    <p:sldId id="5019" r:id="rId11"/>
    <p:sldId id="5014" r:id="rId12"/>
    <p:sldId id="4970" r:id="rId13"/>
    <p:sldId id="5012" r:id="rId14"/>
    <p:sldId id="4990" r:id="rId15"/>
    <p:sldId id="5021" r:id="rId16"/>
    <p:sldId id="393" r:id="rId17"/>
    <p:sldId id="4992" r:id="rId18"/>
    <p:sldId id="4993" r:id="rId19"/>
    <p:sldId id="4994" r:id="rId20"/>
    <p:sldId id="4995" r:id="rId21"/>
    <p:sldId id="4996"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B2113E-298F-470B-18D9-49D10F1E6DBE}" name="Elgee, Jeffrey (SPAC/PSPC)" initials="EJ(" userId="S::Jeffrey.Elgee@tpsgc-pwgsc.gc.ca::e10f0e9c-c03f-4fde-9113-11216b420c44" providerId="AD"/>
  <p188:author id="{B82E8466-83BB-6317-73B9-A51F2FE0BC10}" name="Pare, Carine (SPAC/PSPC)" initials="PC(" userId="S::Carine.Pare@tpsgc-pwgsc.gc.ca::71f88b2f-db4c-4269-9577-1025f7fc6543"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17455C"/>
    <a:srgbClr val="4CB6A0"/>
    <a:srgbClr val="18853F"/>
    <a:srgbClr val="518648"/>
    <a:srgbClr val="F8F682"/>
    <a:srgbClr val="7CB430"/>
    <a:srgbClr val="A8CE75"/>
    <a:srgbClr val="D0FAC0"/>
    <a:srgbClr val="A2F682"/>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EDF86E-8907-478C-8350-466BB0658E91}" v="7" dt="2024-10-29T14:11:45.5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37" autoAdjust="0"/>
    <p:restoredTop sz="92059" autoAdjust="0"/>
  </p:normalViewPr>
  <p:slideViewPr>
    <p:cSldViewPr snapToGrid="0">
      <p:cViewPr varScale="1">
        <p:scale>
          <a:sx n="102" d="100"/>
          <a:sy n="102" d="100"/>
        </p:scale>
        <p:origin x="660" y="9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S::jeffrey.elgee@tpsgc-pwgsc.gc.ca::e10f0e9c-c03f-4fde-9113-11216b420c44" providerId="AD" clId="Web-{39BD275A-D88A-FBF0-2652-96870C031F07}"/>
    <pc:docChg chg="delSld modSld sldOrd">
      <pc:chgData name="Elgee, Jeffrey (SPAC/PSPC)" userId="S::jeffrey.elgee@tpsgc-pwgsc.gc.ca::e10f0e9c-c03f-4fde-9113-11216b420c44" providerId="AD" clId="Web-{39BD275A-D88A-FBF0-2652-96870C031F07}" dt="2024-06-10T15:45:49.007" v="136" actId="20577"/>
      <pc:docMkLst>
        <pc:docMk/>
      </pc:docMkLst>
      <pc:sldChg chg="ord">
        <pc:chgData name="Elgee, Jeffrey (SPAC/PSPC)" userId="S::jeffrey.elgee@tpsgc-pwgsc.gc.ca::e10f0e9c-c03f-4fde-9113-11216b420c44" providerId="AD" clId="Web-{39BD275A-D88A-FBF0-2652-96870C031F07}" dt="2024-06-10T15:34:12.804" v="2"/>
        <pc:sldMkLst>
          <pc:docMk/>
          <pc:sldMk cId="1875387166" sldId="261"/>
        </pc:sldMkLst>
      </pc:sldChg>
      <pc:sldChg chg="mod modShow">
        <pc:chgData name="Elgee, Jeffrey (SPAC/PSPC)" userId="S::jeffrey.elgee@tpsgc-pwgsc.gc.ca::e10f0e9c-c03f-4fde-9113-11216b420c44" providerId="AD" clId="Web-{39BD275A-D88A-FBF0-2652-96870C031F07}" dt="2024-06-10T15:39:25.351" v="20"/>
        <pc:sldMkLst>
          <pc:docMk/>
          <pc:sldMk cId="4155933925" sldId="4984"/>
        </pc:sldMkLst>
      </pc:sldChg>
      <pc:sldChg chg="mod modShow">
        <pc:chgData name="Elgee, Jeffrey (SPAC/PSPC)" userId="S::jeffrey.elgee@tpsgc-pwgsc.gc.ca::e10f0e9c-c03f-4fde-9113-11216b420c44" providerId="AD" clId="Web-{39BD275A-D88A-FBF0-2652-96870C031F07}" dt="2024-06-10T15:39:25.429" v="21"/>
        <pc:sldMkLst>
          <pc:docMk/>
          <pc:sldMk cId="3586646843" sldId="4988"/>
        </pc:sldMkLst>
      </pc:sldChg>
      <pc:sldChg chg="modSp">
        <pc:chgData name="Elgee, Jeffrey (SPAC/PSPC)" userId="S::jeffrey.elgee@tpsgc-pwgsc.gc.ca::e10f0e9c-c03f-4fde-9113-11216b420c44" providerId="AD" clId="Web-{39BD275A-D88A-FBF0-2652-96870C031F07}" dt="2024-06-10T15:41:51.710" v="90" actId="20577"/>
        <pc:sldMkLst>
          <pc:docMk/>
          <pc:sldMk cId="3675530289" sldId="4990"/>
        </pc:sldMkLst>
        <pc:spChg chg="mod">
          <ac:chgData name="Elgee, Jeffrey (SPAC/PSPC)" userId="S::jeffrey.elgee@tpsgc-pwgsc.gc.ca::e10f0e9c-c03f-4fde-9113-11216b420c44" providerId="AD" clId="Web-{39BD275A-D88A-FBF0-2652-96870C031F07}" dt="2024-06-10T15:41:51.710" v="90" actId="20577"/>
          <ac:spMkLst>
            <pc:docMk/>
            <pc:sldMk cId="3675530289" sldId="4990"/>
            <ac:spMk id="3" creationId="{850EFA27-BB7E-A97B-CC4E-5CD87E1BCE56}"/>
          </ac:spMkLst>
        </pc:spChg>
      </pc:sldChg>
      <pc:sldChg chg="modSp">
        <pc:chgData name="Elgee, Jeffrey (SPAC/PSPC)" userId="S::jeffrey.elgee@tpsgc-pwgsc.gc.ca::e10f0e9c-c03f-4fde-9113-11216b420c44" providerId="AD" clId="Web-{39BD275A-D88A-FBF0-2652-96870C031F07}" dt="2024-06-10T15:42:19.101" v="91" actId="20577"/>
        <pc:sldMkLst>
          <pc:docMk/>
          <pc:sldMk cId="388099589" sldId="4992"/>
        </pc:sldMkLst>
        <pc:spChg chg="mod">
          <ac:chgData name="Elgee, Jeffrey (SPAC/PSPC)" userId="S::jeffrey.elgee@tpsgc-pwgsc.gc.ca::e10f0e9c-c03f-4fde-9113-11216b420c44" providerId="AD" clId="Web-{39BD275A-D88A-FBF0-2652-96870C031F07}" dt="2024-06-10T15:42:19.101" v="91" actId="20577"/>
          <ac:spMkLst>
            <pc:docMk/>
            <pc:sldMk cId="388099589" sldId="4992"/>
            <ac:spMk id="15" creationId="{2A224E51-C8E2-AF04-0A70-65F6548C9FA5}"/>
          </ac:spMkLst>
        </pc:spChg>
      </pc:sldChg>
      <pc:sldChg chg="modSp">
        <pc:chgData name="Elgee, Jeffrey (SPAC/PSPC)" userId="S::jeffrey.elgee@tpsgc-pwgsc.gc.ca::e10f0e9c-c03f-4fde-9113-11216b420c44" providerId="AD" clId="Web-{39BD275A-D88A-FBF0-2652-96870C031F07}" dt="2024-06-10T15:43:46.913" v="108" actId="1076"/>
        <pc:sldMkLst>
          <pc:docMk/>
          <pc:sldMk cId="3248544414" sldId="4993"/>
        </pc:sldMkLst>
        <pc:spChg chg="mod">
          <ac:chgData name="Elgee, Jeffrey (SPAC/PSPC)" userId="S::jeffrey.elgee@tpsgc-pwgsc.gc.ca::e10f0e9c-c03f-4fde-9113-11216b420c44" providerId="AD" clId="Web-{39BD275A-D88A-FBF0-2652-96870C031F07}" dt="2024-06-10T15:43:46.913" v="108" actId="1076"/>
          <ac:spMkLst>
            <pc:docMk/>
            <pc:sldMk cId="3248544414" sldId="4993"/>
            <ac:spMk id="2" creationId="{614254A6-86DE-4A21-B094-C9AE8BEEF21A}"/>
          </ac:spMkLst>
        </pc:spChg>
      </pc:sldChg>
      <pc:sldChg chg="modSp">
        <pc:chgData name="Elgee, Jeffrey (SPAC/PSPC)" userId="S::jeffrey.elgee@tpsgc-pwgsc.gc.ca::e10f0e9c-c03f-4fde-9113-11216b420c44" providerId="AD" clId="Web-{39BD275A-D88A-FBF0-2652-96870C031F07}" dt="2024-06-10T15:44:34.491" v="113" actId="1076"/>
        <pc:sldMkLst>
          <pc:docMk/>
          <pc:sldMk cId="2239565128" sldId="4994"/>
        </pc:sldMkLst>
        <pc:spChg chg="mod">
          <ac:chgData name="Elgee, Jeffrey (SPAC/PSPC)" userId="S::jeffrey.elgee@tpsgc-pwgsc.gc.ca::e10f0e9c-c03f-4fde-9113-11216b420c44" providerId="AD" clId="Web-{39BD275A-D88A-FBF0-2652-96870C031F07}" dt="2024-06-10T15:44:34.491" v="113" actId="1076"/>
          <ac:spMkLst>
            <pc:docMk/>
            <pc:sldMk cId="2239565128" sldId="4994"/>
            <ac:spMk id="3" creationId="{1CEF9E92-F5EA-929E-089A-77CB316CD4E6}"/>
          </ac:spMkLst>
        </pc:spChg>
      </pc:sldChg>
      <pc:sldChg chg="modSp">
        <pc:chgData name="Elgee, Jeffrey (SPAC/PSPC)" userId="S::jeffrey.elgee@tpsgc-pwgsc.gc.ca::e10f0e9c-c03f-4fde-9113-11216b420c44" providerId="AD" clId="Web-{39BD275A-D88A-FBF0-2652-96870C031F07}" dt="2024-06-10T15:45:04.054" v="118" actId="1076"/>
        <pc:sldMkLst>
          <pc:docMk/>
          <pc:sldMk cId="4226407642" sldId="4995"/>
        </pc:sldMkLst>
        <pc:spChg chg="mod">
          <ac:chgData name="Elgee, Jeffrey (SPAC/PSPC)" userId="S::jeffrey.elgee@tpsgc-pwgsc.gc.ca::e10f0e9c-c03f-4fde-9113-11216b420c44" providerId="AD" clId="Web-{39BD275A-D88A-FBF0-2652-96870C031F07}" dt="2024-06-10T15:45:04.054" v="118" actId="1076"/>
          <ac:spMkLst>
            <pc:docMk/>
            <pc:sldMk cId="4226407642" sldId="4995"/>
            <ac:spMk id="4" creationId="{7A3D9691-2EF5-8BFD-F0A0-97FB021A1A74}"/>
          </ac:spMkLst>
        </pc:spChg>
      </pc:sldChg>
      <pc:sldChg chg="addSp modSp">
        <pc:chgData name="Elgee, Jeffrey (SPAC/PSPC)" userId="S::jeffrey.elgee@tpsgc-pwgsc.gc.ca::e10f0e9c-c03f-4fde-9113-11216b420c44" providerId="AD" clId="Web-{39BD275A-D88A-FBF0-2652-96870C031F07}" dt="2024-06-10T15:45:49.007" v="136" actId="20577"/>
        <pc:sldMkLst>
          <pc:docMk/>
          <pc:sldMk cId="502785453" sldId="4996"/>
        </pc:sldMkLst>
        <pc:spChg chg="add mod">
          <ac:chgData name="Elgee, Jeffrey (SPAC/PSPC)" userId="S::jeffrey.elgee@tpsgc-pwgsc.gc.ca::e10f0e9c-c03f-4fde-9113-11216b420c44" providerId="AD" clId="Web-{39BD275A-D88A-FBF0-2652-96870C031F07}" dt="2024-06-10T15:45:49.007" v="136" actId="20577"/>
          <ac:spMkLst>
            <pc:docMk/>
            <pc:sldMk cId="502785453" sldId="4996"/>
            <ac:spMk id="4" creationId="{A68055C5-C3B2-54D4-BDF8-80FA55C8F1BD}"/>
          </ac:spMkLst>
        </pc:spChg>
      </pc:sldChg>
      <pc:sldChg chg="del">
        <pc:chgData name="Elgee, Jeffrey (SPAC/PSPC)" userId="S::jeffrey.elgee@tpsgc-pwgsc.gc.ca::e10f0e9c-c03f-4fde-9113-11216b420c44" providerId="AD" clId="Web-{39BD275A-D88A-FBF0-2652-96870C031F07}" dt="2024-06-10T15:39:07.022" v="19"/>
        <pc:sldMkLst>
          <pc:docMk/>
          <pc:sldMk cId="1601877447" sldId="5006"/>
        </pc:sldMkLst>
      </pc:sldChg>
      <pc:sldChg chg="ord">
        <pc:chgData name="Elgee, Jeffrey (SPAC/PSPC)" userId="S::jeffrey.elgee@tpsgc-pwgsc.gc.ca::e10f0e9c-c03f-4fde-9113-11216b420c44" providerId="AD" clId="Web-{39BD275A-D88A-FBF0-2652-96870C031F07}" dt="2024-06-10T15:34:12.804" v="1"/>
        <pc:sldMkLst>
          <pc:docMk/>
          <pc:sldMk cId="257696756" sldId="5009"/>
        </pc:sldMkLst>
      </pc:sldChg>
      <pc:sldChg chg="modSp ord">
        <pc:chgData name="Elgee, Jeffrey (SPAC/PSPC)" userId="S::jeffrey.elgee@tpsgc-pwgsc.gc.ca::e10f0e9c-c03f-4fde-9113-11216b420c44" providerId="AD" clId="Web-{39BD275A-D88A-FBF0-2652-96870C031F07}" dt="2024-06-10T15:36:23.804" v="18" actId="20577"/>
        <pc:sldMkLst>
          <pc:docMk/>
          <pc:sldMk cId="1717449089" sldId="5011"/>
        </pc:sldMkLst>
        <pc:spChg chg="mod">
          <ac:chgData name="Elgee, Jeffrey (SPAC/PSPC)" userId="S::jeffrey.elgee@tpsgc-pwgsc.gc.ca::e10f0e9c-c03f-4fde-9113-11216b420c44" providerId="AD" clId="Web-{39BD275A-D88A-FBF0-2652-96870C031F07}" dt="2024-06-10T15:36:23.804" v="18" actId="20577"/>
          <ac:spMkLst>
            <pc:docMk/>
            <pc:sldMk cId="1717449089" sldId="5011"/>
            <ac:spMk id="3" creationId="{DE69AC7C-2B0D-CF31-48EE-53792B4D724E}"/>
          </ac:spMkLst>
        </pc:spChg>
      </pc:sldChg>
    </pc:docChg>
  </pc:docChgLst>
  <pc:docChgLst>
    <pc:chgData name="Dion3, Alain (SPAC/PSPC) (il-lui / he-him)" userId="b5972ad0-fee1-4393-9fd4-8bc589782ac7" providerId="ADAL" clId="{1AEDF86E-8907-478C-8350-466BB0658E91}"/>
    <pc:docChg chg="undo redo custSel modSld modMainMaster">
      <pc:chgData name="Dion3, Alain (SPAC/PSPC) (il-lui / he-him)" userId="b5972ad0-fee1-4393-9fd4-8bc589782ac7" providerId="ADAL" clId="{1AEDF86E-8907-478C-8350-466BB0658E91}" dt="2024-10-30T14:06:20.486" v="4592" actId="20577"/>
      <pc:docMkLst>
        <pc:docMk/>
      </pc:docMkLst>
      <pc:sldChg chg="addSp delSp modSp mod">
        <pc:chgData name="Dion3, Alain (SPAC/PSPC) (il-lui / he-him)" userId="b5972ad0-fee1-4393-9fd4-8bc589782ac7" providerId="ADAL" clId="{1AEDF86E-8907-478C-8350-466BB0658E91}" dt="2024-10-29T12:54:36.639" v="200"/>
        <pc:sldMkLst>
          <pc:docMk/>
          <pc:sldMk cId="1739606208" sldId="384"/>
        </pc:sldMkLst>
        <pc:spChg chg="mod replST">
          <ac:chgData name="Dion3, Alain (SPAC/PSPC) (il-lui / he-him)" userId="b5972ad0-fee1-4393-9fd4-8bc589782ac7" providerId="ADAL" clId="{1AEDF86E-8907-478C-8350-466BB0658E91}" dt="2024-10-29T12:54:36.593" v="194"/>
          <ac:spMkLst>
            <pc:docMk/>
            <pc:sldMk cId="1739606208" sldId="384"/>
            <ac:spMk id="2" creationId="{00000000-0000-0000-0000-000000000000}"/>
          </ac:spMkLst>
        </pc:spChg>
        <pc:spChg chg="mod replST">
          <ac:chgData name="Dion3, Alain (SPAC/PSPC) (il-lui / he-him)" userId="b5972ad0-fee1-4393-9fd4-8bc589782ac7" providerId="ADAL" clId="{1AEDF86E-8907-478C-8350-466BB0658E91}" dt="2024-10-29T12:54:36.601" v="195"/>
          <ac:spMkLst>
            <pc:docMk/>
            <pc:sldMk cId="1739606208" sldId="384"/>
            <ac:spMk id="3" creationId="{00000000-0000-0000-0000-000000000000}"/>
          </ac:spMkLst>
        </pc:spChg>
        <pc:spChg chg="mod replST">
          <ac:chgData name="Dion3, Alain (SPAC/PSPC) (il-lui / he-him)" userId="b5972ad0-fee1-4393-9fd4-8bc589782ac7" providerId="ADAL" clId="{1AEDF86E-8907-478C-8350-466BB0658E91}" dt="2024-10-29T12:54:36.607" v="196"/>
          <ac:spMkLst>
            <pc:docMk/>
            <pc:sldMk cId="1739606208" sldId="384"/>
            <ac:spMk id="7" creationId="{00000000-0000-0000-0000-000000000000}"/>
          </ac:spMkLst>
        </pc:spChg>
        <pc:spChg chg="mod replST">
          <ac:chgData name="Dion3, Alain (SPAC/PSPC) (il-lui / he-him)" userId="b5972ad0-fee1-4393-9fd4-8bc589782ac7" providerId="ADAL" clId="{1AEDF86E-8907-478C-8350-466BB0658E91}" dt="2024-10-29T12:54:36.586" v="193"/>
          <ac:spMkLst>
            <pc:docMk/>
            <pc:sldMk cId="1739606208" sldId="384"/>
            <ac:spMk id="8" creationId="{00000000-0000-0000-0000-000000000000}"/>
          </ac:spMkLst>
        </pc:spChg>
        <pc:spChg chg="mod replST">
          <ac:chgData name="Dion3, Alain (SPAC/PSPC) (il-lui / he-him)" userId="b5972ad0-fee1-4393-9fd4-8bc589782ac7" providerId="ADAL" clId="{1AEDF86E-8907-478C-8350-466BB0658E91}" dt="2024-10-29T12:54:36.615" v="197"/>
          <ac:spMkLst>
            <pc:docMk/>
            <pc:sldMk cId="1739606208" sldId="384"/>
            <ac:spMk id="9" creationId="{00000000-0000-0000-0000-000000000000}"/>
          </ac:spMkLst>
        </pc:spChg>
        <pc:grpChg chg="mod replST">
          <ac:chgData name="Dion3, Alain (SPAC/PSPC) (il-lui / he-him)" userId="b5972ad0-fee1-4393-9fd4-8bc589782ac7" providerId="ADAL" clId="{1AEDF86E-8907-478C-8350-466BB0658E91}" dt="2024-10-29T12:54:36.639" v="200"/>
          <ac:grpSpMkLst>
            <pc:docMk/>
            <pc:sldMk cId="1739606208" sldId="384"/>
            <ac:grpSpMk id="11" creationId="{4BB54C6B-1537-5ED6-FAB3-0D29D2D064EA}"/>
          </ac:grpSpMkLst>
        </pc:grpChg>
        <pc:picChg chg="add">
          <ac:chgData name="Dion3, Alain (SPAC/PSPC) (il-lui / he-him)" userId="b5972ad0-fee1-4393-9fd4-8bc589782ac7" providerId="ADAL" clId="{1AEDF86E-8907-478C-8350-466BB0658E91}" dt="2024-10-29T12:34:20.163" v="0"/>
          <ac:picMkLst>
            <pc:docMk/>
            <pc:sldMk cId="1739606208" sldId="384"/>
            <ac:picMk id="5" creationId="{4E106717-0110-B3C6-1CC4-79B5F730B861}"/>
          </ac:picMkLst>
        </pc:picChg>
        <pc:picChg chg="replST">
          <ac:chgData name="Dion3, Alain (SPAC/PSPC) (il-lui / he-him)" userId="b5972ad0-fee1-4393-9fd4-8bc589782ac7" providerId="ADAL" clId="{1AEDF86E-8907-478C-8350-466BB0658E91}" dt="2024-10-29T12:54:36.559" v="192"/>
          <ac:picMkLst>
            <pc:docMk/>
            <pc:sldMk cId="1739606208" sldId="384"/>
            <ac:picMk id="6" creationId="{00000000-0000-0000-0000-000000000000}"/>
          </ac:picMkLst>
        </pc:picChg>
        <pc:picChg chg="add del mod">
          <ac:chgData name="Dion3, Alain (SPAC/PSPC) (il-lui / he-him)" userId="b5972ad0-fee1-4393-9fd4-8bc589782ac7" providerId="ADAL" clId="{1AEDF86E-8907-478C-8350-466BB0658E91}" dt="2024-10-29T12:34:53.283" v="6" actId="478"/>
          <ac:picMkLst>
            <pc:docMk/>
            <pc:sldMk cId="1739606208" sldId="384"/>
            <ac:picMk id="12" creationId="{4D15F5F3-2076-51BA-CF16-0392D74085DE}"/>
          </ac:picMkLst>
        </pc:picChg>
        <pc:picChg chg="mod">
          <ac:chgData name="Dion3, Alain (SPAC/PSPC) (il-lui / he-him)" userId="b5972ad0-fee1-4393-9fd4-8bc589782ac7" providerId="ADAL" clId="{1AEDF86E-8907-478C-8350-466BB0658E91}" dt="2024-10-29T12:35:33.585" v="12" actId="14826"/>
          <ac:picMkLst>
            <pc:docMk/>
            <pc:sldMk cId="1739606208" sldId="384"/>
            <ac:picMk id="13" creationId="{00000000-0000-0000-0000-000000000000}"/>
          </ac:picMkLst>
        </pc:picChg>
        <pc:picChg chg="replST">
          <ac:chgData name="Dion3, Alain (SPAC/PSPC) (il-lui / he-him)" userId="b5972ad0-fee1-4393-9fd4-8bc589782ac7" providerId="ADAL" clId="{1AEDF86E-8907-478C-8350-466BB0658E91}" dt="2024-10-29T12:54:36.623" v="198"/>
          <ac:picMkLst>
            <pc:docMk/>
            <pc:sldMk cId="1739606208" sldId="384"/>
            <ac:picMk id="14" creationId="{00000000-0000-0000-0000-000000000000}"/>
          </ac:picMkLst>
        </pc:picChg>
        <pc:picChg chg="add del">
          <ac:chgData name="Dion3, Alain (SPAC/PSPC) (il-lui / he-him)" userId="b5972ad0-fee1-4393-9fd4-8bc589782ac7" providerId="ADAL" clId="{1AEDF86E-8907-478C-8350-466BB0658E91}" dt="2024-10-29T12:35:07.159" v="8" actId="478"/>
          <ac:picMkLst>
            <pc:docMk/>
            <pc:sldMk cId="1739606208" sldId="384"/>
            <ac:picMk id="15" creationId="{F00D9328-61AF-BF2C-CBED-9E7D0726FC7F}"/>
          </ac:picMkLst>
        </pc:picChg>
        <pc:picChg chg="add">
          <ac:chgData name="Dion3, Alain (SPAC/PSPC) (il-lui / he-him)" userId="b5972ad0-fee1-4393-9fd4-8bc589782ac7" providerId="ADAL" clId="{1AEDF86E-8907-478C-8350-466BB0658E91}" dt="2024-10-29T12:36:33.832" v="17"/>
          <ac:picMkLst>
            <pc:docMk/>
            <pc:sldMk cId="1739606208" sldId="384"/>
            <ac:picMk id="16" creationId="{C7783688-9089-1434-FCB9-7D1C7F2E506B}"/>
          </ac:picMkLst>
        </pc:picChg>
        <pc:picChg chg="mod replST">
          <ac:chgData name="Dion3, Alain (SPAC/PSPC) (il-lui / he-him)" userId="b5972ad0-fee1-4393-9fd4-8bc589782ac7" providerId="ADAL" clId="{1AEDF86E-8907-478C-8350-466BB0658E91}" dt="2024-10-29T12:54:36.632" v="199"/>
          <ac:picMkLst>
            <pc:docMk/>
            <pc:sldMk cId="1739606208" sldId="384"/>
            <ac:picMk id="17" creationId="{89CA9733-78EF-5F49-81C1-064DE89D5260}"/>
          </ac:picMkLst>
        </pc:picChg>
      </pc:sldChg>
      <pc:sldChg chg="modSp mod">
        <pc:chgData name="Dion3, Alain (SPAC/PSPC) (il-lui / he-him)" userId="b5972ad0-fee1-4393-9fd4-8bc589782ac7" providerId="ADAL" clId="{1AEDF86E-8907-478C-8350-466BB0658E91}" dt="2024-10-29T17:31:04.160" v="2217" actId="20577"/>
        <pc:sldMkLst>
          <pc:docMk/>
          <pc:sldMk cId="986189170" sldId="393"/>
        </pc:sldMkLst>
        <pc:spChg chg="mod replST">
          <ac:chgData name="Dion3, Alain (SPAC/PSPC) (il-lui / he-him)" userId="b5972ad0-fee1-4393-9fd4-8bc589782ac7" providerId="ADAL" clId="{1AEDF86E-8907-478C-8350-466BB0658E91}" dt="2024-10-29T17:21:49.623" v="1975" actId="790"/>
          <ac:spMkLst>
            <pc:docMk/>
            <pc:sldMk cId="986189170" sldId="393"/>
            <ac:spMk id="2" creationId="{81BABC30-17CF-4A05-BBF2-C491854EEE86}"/>
          </ac:spMkLst>
        </pc:spChg>
        <pc:spChg chg="mod">
          <ac:chgData name="Dion3, Alain (SPAC/PSPC) (il-lui / he-him)" userId="b5972ad0-fee1-4393-9fd4-8bc589782ac7" providerId="ADAL" clId="{1AEDF86E-8907-478C-8350-466BB0658E91}" dt="2024-10-29T17:21:49.623" v="1975" actId="790"/>
          <ac:spMkLst>
            <pc:docMk/>
            <pc:sldMk cId="986189170" sldId="393"/>
            <ac:spMk id="14" creationId="{0CACA278-8846-461F-8C90-36C80E352F7E}"/>
          </ac:spMkLst>
        </pc:spChg>
        <pc:spChg chg="mod">
          <ac:chgData name="Dion3, Alain (SPAC/PSPC) (il-lui / he-him)" userId="b5972ad0-fee1-4393-9fd4-8bc589782ac7" providerId="ADAL" clId="{1AEDF86E-8907-478C-8350-466BB0658E91}" dt="2024-10-29T17:21:49.623" v="1975" actId="790"/>
          <ac:spMkLst>
            <pc:docMk/>
            <pc:sldMk cId="986189170" sldId="393"/>
            <ac:spMk id="15" creationId="{95A31F6C-BC75-4062-B21A-68B6ADEC68AE}"/>
          </ac:spMkLst>
        </pc:spChg>
        <pc:spChg chg="mod">
          <ac:chgData name="Dion3, Alain (SPAC/PSPC) (il-lui / he-him)" userId="b5972ad0-fee1-4393-9fd4-8bc589782ac7" providerId="ADAL" clId="{1AEDF86E-8907-478C-8350-466BB0658E91}" dt="2024-10-29T17:21:49.623" v="1975" actId="790"/>
          <ac:spMkLst>
            <pc:docMk/>
            <pc:sldMk cId="986189170" sldId="393"/>
            <ac:spMk id="16" creationId="{7570F9A0-5243-45FE-82DA-2E40F6155956}"/>
          </ac:spMkLst>
        </pc:spChg>
        <pc:spChg chg="mod">
          <ac:chgData name="Dion3, Alain (SPAC/PSPC) (il-lui / he-him)" userId="b5972ad0-fee1-4393-9fd4-8bc589782ac7" providerId="ADAL" clId="{1AEDF86E-8907-478C-8350-466BB0658E91}" dt="2024-10-29T17:21:49.623" v="1975" actId="790"/>
          <ac:spMkLst>
            <pc:docMk/>
            <pc:sldMk cId="986189170" sldId="393"/>
            <ac:spMk id="17" creationId="{7D12F651-7641-4522-87CE-6C0EEA3B2882}"/>
          </ac:spMkLst>
        </pc:spChg>
        <pc:spChg chg="mod">
          <ac:chgData name="Dion3, Alain (SPAC/PSPC) (il-lui / he-him)" userId="b5972ad0-fee1-4393-9fd4-8bc589782ac7" providerId="ADAL" clId="{1AEDF86E-8907-478C-8350-466BB0658E91}" dt="2024-10-29T17:21:49.623" v="1975" actId="790"/>
          <ac:spMkLst>
            <pc:docMk/>
            <pc:sldMk cId="986189170" sldId="393"/>
            <ac:spMk id="18" creationId="{8F8602EB-833B-4D25-8567-AFBFF0CFB8E1}"/>
          </ac:spMkLst>
        </pc:spChg>
        <pc:spChg chg="mod">
          <ac:chgData name="Dion3, Alain (SPAC/PSPC) (il-lui / he-him)" userId="b5972ad0-fee1-4393-9fd4-8bc589782ac7" providerId="ADAL" clId="{1AEDF86E-8907-478C-8350-466BB0658E91}" dt="2024-10-29T17:21:49.623" v="1975" actId="790"/>
          <ac:spMkLst>
            <pc:docMk/>
            <pc:sldMk cId="986189170" sldId="393"/>
            <ac:spMk id="20" creationId="{C48292AC-ACA6-4763-92CE-02F2C17834A2}"/>
          </ac:spMkLst>
        </pc:spChg>
        <pc:spChg chg="mod">
          <ac:chgData name="Dion3, Alain (SPAC/PSPC) (il-lui / he-him)" userId="b5972ad0-fee1-4393-9fd4-8bc589782ac7" providerId="ADAL" clId="{1AEDF86E-8907-478C-8350-466BB0658E91}" dt="2024-10-29T17:21:49.623" v="1975" actId="790"/>
          <ac:spMkLst>
            <pc:docMk/>
            <pc:sldMk cId="986189170" sldId="393"/>
            <ac:spMk id="21" creationId="{E120499F-6C76-4B5F-AE78-94EE93E3E65F}"/>
          </ac:spMkLst>
        </pc:spChg>
        <pc:spChg chg="mod">
          <ac:chgData name="Dion3, Alain (SPAC/PSPC) (il-lui / he-him)" userId="b5972ad0-fee1-4393-9fd4-8bc589782ac7" providerId="ADAL" clId="{1AEDF86E-8907-478C-8350-466BB0658E91}" dt="2024-10-29T17:21:49.623" v="1975" actId="790"/>
          <ac:spMkLst>
            <pc:docMk/>
            <pc:sldMk cId="986189170" sldId="393"/>
            <ac:spMk id="22" creationId="{6BA22E8F-4E55-4913-BD3E-033B7C0D2C1F}"/>
          </ac:spMkLst>
        </pc:spChg>
        <pc:spChg chg="mod">
          <ac:chgData name="Dion3, Alain (SPAC/PSPC) (il-lui / he-him)" userId="b5972ad0-fee1-4393-9fd4-8bc589782ac7" providerId="ADAL" clId="{1AEDF86E-8907-478C-8350-466BB0658E91}" dt="2024-10-29T17:21:49.623" v="1975" actId="790"/>
          <ac:spMkLst>
            <pc:docMk/>
            <pc:sldMk cId="986189170" sldId="393"/>
            <ac:spMk id="23" creationId="{9766194C-81AF-4510-9A27-1CB14B7DD138}"/>
          </ac:spMkLst>
        </pc:spChg>
        <pc:spChg chg="mod">
          <ac:chgData name="Dion3, Alain (SPAC/PSPC) (il-lui / he-him)" userId="b5972ad0-fee1-4393-9fd4-8bc589782ac7" providerId="ADAL" clId="{1AEDF86E-8907-478C-8350-466BB0658E91}" dt="2024-10-29T17:24:52.027" v="2041" actId="14100"/>
          <ac:spMkLst>
            <pc:docMk/>
            <pc:sldMk cId="986189170" sldId="393"/>
            <ac:spMk id="24" creationId="{4EAA5C09-A057-4457-9179-D3508932F0CE}"/>
          </ac:spMkLst>
        </pc:spChg>
        <pc:spChg chg="mod">
          <ac:chgData name="Dion3, Alain (SPAC/PSPC) (il-lui / he-him)" userId="b5972ad0-fee1-4393-9fd4-8bc589782ac7" providerId="ADAL" clId="{1AEDF86E-8907-478C-8350-466BB0658E91}" dt="2024-10-29T17:21:49.623" v="1975" actId="790"/>
          <ac:spMkLst>
            <pc:docMk/>
            <pc:sldMk cId="986189170" sldId="393"/>
            <ac:spMk id="25" creationId="{0251BA8F-F02F-4684-BFA2-339B97FB4731}"/>
          </ac:spMkLst>
        </pc:spChg>
        <pc:spChg chg="mod">
          <ac:chgData name="Dion3, Alain (SPAC/PSPC) (il-lui / he-him)" userId="b5972ad0-fee1-4393-9fd4-8bc589782ac7" providerId="ADAL" clId="{1AEDF86E-8907-478C-8350-466BB0658E91}" dt="2024-10-29T17:21:49.623" v="1975" actId="790"/>
          <ac:spMkLst>
            <pc:docMk/>
            <pc:sldMk cId="986189170" sldId="393"/>
            <ac:spMk id="26" creationId="{02BB73C8-579B-49D9-A107-E536848D3FA4}"/>
          </ac:spMkLst>
        </pc:spChg>
        <pc:spChg chg="mod">
          <ac:chgData name="Dion3, Alain (SPAC/PSPC) (il-lui / he-him)" userId="b5972ad0-fee1-4393-9fd4-8bc589782ac7" providerId="ADAL" clId="{1AEDF86E-8907-478C-8350-466BB0658E91}" dt="2024-10-29T17:21:49.623" v="1975" actId="790"/>
          <ac:spMkLst>
            <pc:docMk/>
            <pc:sldMk cId="986189170" sldId="393"/>
            <ac:spMk id="27" creationId="{05F3E546-3287-40AB-B802-EE0D6AC6F169}"/>
          </ac:spMkLst>
        </pc:spChg>
        <pc:spChg chg="mod">
          <ac:chgData name="Dion3, Alain (SPAC/PSPC) (il-lui / he-him)" userId="b5972ad0-fee1-4393-9fd4-8bc589782ac7" providerId="ADAL" clId="{1AEDF86E-8907-478C-8350-466BB0658E91}" dt="2024-10-29T17:21:49.623" v="1975" actId="790"/>
          <ac:spMkLst>
            <pc:docMk/>
            <pc:sldMk cId="986189170" sldId="393"/>
            <ac:spMk id="29" creationId="{062617AB-6DC3-4C46-ADF3-924C89CA34F5}"/>
          </ac:spMkLst>
        </pc:spChg>
        <pc:spChg chg="mod">
          <ac:chgData name="Dion3, Alain (SPAC/PSPC) (il-lui / he-him)" userId="b5972ad0-fee1-4393-9fd4-8bc589782ac7" providerId="ADAL" clId="{1AEDF86E-8907-478C-8350-466BB0658E91}" dt="2024-10-29T17:21:49.623" v="1975" actId="790"/>
          <ac:spMkLst>
            <pc:docMk/>
            <pc:sldMk cId="986189170" sldId="393"/>
            <ac:spMk id="30" creationId="{1C711295-EFBB-4370-8A65-49D40DBA87E6}"/>
          </ac:spMkLst>
        </pc:spChg>
        <pc:spChg chg="mod replST">
          <ac:chgData name="Dion3, Alain (SPAC/PSPC) (il-lui / he-him)" userId="b5972ad0-fee1-4393-9fd4-8bc589782ac7" providerId="ADAL" clId="{1AEDF86E-8907-478C-8350-466BB0658E91}" dt="2024-10-29T17:22:23.758" v="1990" actId="20577"/>
          <ac:spMkLst>
            <pc:docMk/>
            <pc:sldMk cId="986189170" sldId="393"/>
            <ac:spMk id="42" creationId="{BCEE7515-3524-472F-8F58-BF6E58A6FF68}"/>
          </ac:spMkLst>
        </pc:spChg>
        <pc:spChg chg="mod replST">
          <ac:chgData name="Dion3, Alain (SPAC/PSPC) (il-lui / he-him)" userId="b5972ad0-fee1-4393-9fd4-8bc589782ac7" providerId="ADAL" clId="{1AEDF86E-8907-478C-8350-466BB0658E91}" dt="2024-10-29T17:22:01.373" v="1981" actId="20577"/>
          <ac:spMkLst>
            <pc:docMk/>
            <pc:sldMk cId="986189170" sldId="393"/>
            <ac:spMk id="43" creationId="{A95862EF-6835-47F7-810D-D13EB59C9F3C}"/>
          </ac:spMkLst>
        </pc:spChg>
        <pc:spChg chg="mod replST">
          <ac:chgData name="Dion3, Alain (SPAC/PSPC) (il-lui / he-him)" userId="b5972ad0-fee1-4393-9fd4-8bc589782ac7" providerId="ADAL" clId="{1AEDF86E-8907-478C-8350-466BB0658E91}" dt="2024-10-29T17:21:49.623" v="1975" actId="790"/>
          <ac:spMkLst>
            <pc:docMk/>
            <pc:sldMk cId="986189170" sldId="393"/>
            <ac:spMk id="44" creationId="{279DBB7C-9EAA-452F-95CC-784DB91B3516}"/>
          </ac:spMkLst>
        </pc:spChg>
        <pc:spChg chg="mod replST">
          <ac:chgData name="Dion3, Alain (SPAC/PSPC) (il-lui / he-him)" userId="b5972ad0-fee1-4393-9fd4-8bc589782ac7" providerId="ADAL" clId="{1AEDF86E-8907-478C-8350-466BB0658E91}" dt="2024-10-29T17:22:30.117" v="1996" actId="20577"/>
          <ac:spMkLst>
            <pc:docMk/>
            <pc:sldMk cId="986189170" sldId="393"/>
            <ac:spMk id="45" creationId="{B399EB39-A3D7-4EC0-9D48-E3D784BD2DD7}"/>
          </ac:spMkLst>
        </pc:spChg>
        <pc:spChg chg="mod replST">
          <ac:chgData name="Dion3, Alain (SPAC/PSPC) (il-lui / he-him)" userId="b5972ad0-fee1-4393-9fd4-8bc589782ac7" providerId="ADAL" clId="{1AEDF86E-8907-478C-8350-466BB0658E91}" dt="2024-10-29T17:30:18.554" v="2147" actId="20577"/>
          <ac:spMkLst>
            <pc:docMk/>
            <pc:sldMk cId="986189170" sldId="393"/>
            <ac:spMk id="46" creationId="{C1C564CC-726D-4AF9-9415-EA9A7827EF0B}"/>
          </ac:spMkLst>
        </pc:spChg>
        <pc:spChg chg="mod replST">
          <ac:chgData name="Dion3, Alain (SPAC/PSPC) (il-lui / he-him)" userId="b5972ad0-fee1-4393-9fd4-8bc589782ac7" providerId="ADAL" clId="{1AEDF86E-8907-478C-8350-466BB0658E91}" dt="2024-10-29T17:30:34.800" v="2173" actId="20577"/>
          <ac:spMkLst>
            <pc:docMk/>
            <pc:sldMk cId="986189170" sldId="393"/>
            <ac:spMk id="47" creationId="{7610ADAC-96D2-4161-8E5B-D809086A6EA4}"/>
          </ac:spMkLst>
        </pc:spChg>
        <pc:spChg chg="mod replST">
          <ac:chgData name="Dion3, Alain (SPAC/PSPC) (il-lui / he-him)" userId="b5972ad0-fee1-4393-9fd4-8bc589782ac7" providerId="ADAL" clId="{1AEDF86E-8907-478C-8350-466BB0658E91}" dt="2024-10-29T17:30:58.211" v="2208" actId="20577"/>
          <ac:spMkLst>
            <pc:docMk/>
            <pc:sldMk cId="986189170" sldId="393"/>
            <ac:spMk id="48" creationId="{36C29F3A-8516-44CE-8C66-B51F2F37DA86}"/>
          </ac:spMkLst>
        </pc:spChg>
        <pc:spChg chg="mod replST">
          <ac:chgData name="Dion3, Alain (SPAC/PSPC) (il-lui / he-him)" userId="b5972ad0-fee1-4393-9fd4-8bc589782ac7" providerId="ADAL" clId="{1AEDF86E-8907-478C-8350-466BB0658E91}" dt="2024-10-29T17:31:04.160" v="2217" actId="20577"/>
          <ac:spMkLst>
            <pc:docMk/>
            <pc:sldMk cId="986189170" sldId="393"/>
            <ac:spMk id="49" creationId="{78CC5D01-D6DD-4F92-AA98-55AB1B20A00F}"/>
          </ac:spMkLst>
        </pc:spChg>
        <pc:spChg chg="mod replST">
          <ac:chgData name="Dion3, Alain (SPAC/PSPC) (il-lui / he-him)" userId="b5972ad0-fee1-4393-9fd4-8bc589782ac7" providerId="ADAL" clId="{1AEDF86E-8907-478C-8350-466BB0658E91}" dt="2024-10-29T17:29:11.801" v="2110" actId="20577"/>
          <ac:spMkLst>
            <pc:docMk/>
            <pc:sldMk cId="986189170" sldId="393"/>
            <ac:spMk id="50" creationId="{DE50AACE-0335-48A5-BAF4-47E45007D9DC}"/>
          </ac:spMkLst>
        </pc:spChg>
        <pc:grpChg chg="replST">
          <ac:chgData name="Dion3, Alain (SPAC/PSPC) (il-lui / he-him)" userId="b5972ad0-fee1-4393-9fd4-8bc589782ac7" providerId="ADAL" clId="{1AEDF86E-8907-478C-8350-466BB0658E91}" dt="2024-10-29T12:54:37.365" v="306"/>
          <ac:grpSpMkLst>
            <pc:docMk/>
            <pc:sldMk cId="986189170" sldId="393"/>
            <ac:grpSpMk id="39" creationId="{C2191868-CCF5-4452-B018-92CA700DC7A2}"/>
          </ac:grpSpMkLst>
        </pc:grpChg>
      </pc:sldChg>
      <pc:sldChg chg="modSp mod">
        <pc:chgData name="Dion3, Alain (SPAC/PSPC) (il-lui / he-him)" userId="b5972ad0-fee1-4393-9fd4-8bc589782ac7" providerId="ADAL" clId="{1AEDF86E-8907-478C-8350-466BB0658E91}" dt="2024-10-29T17:04:31.538" v="1606" actId="790"/>
        <pc:sldMkLst>
          <pc:docMk/>
          <pc:sldMk cId="3291831031" sldId="4970"/>
        </pc:sldMkLst>
        <pc:spChg chg="mod replST">
          <ac:chgData name="Dion3, Alain (SPAC/PSPC) (il-lui / he-him)" userId="b5972ad0-fee1-4393-9fd4-8bc589782ac7" providerId="ADAL" clId="{1AEDF86E-8907-478C-8350-466BB0658E91}" dt="2024-10-29T17:04:31.538" v="1606" actId="790"/>
          <ac:spMkLst>
            <pc:docMk/>
            <pc:sldMk cId="3291831031" sldId="4970"/>
            <ac:spMk id="2" creationId="{C74025A8-BF11-4E8B-9432-F1A9787EEC2E}"/>
          </ac:spMkLst>
        </pc:spChg>
        <pc:spChg chg="mod replST">
          <ac:chgData name="Dion3, Alain (SPAC/PSPC) (il-lui / he-him)" userId="b5972ad0-fee1-4393-9fd4-8bc589782ac7" providerId="ADAL" clId="{1AEDF86E-8907-478C-8350-466BB0658E91}" dt="2024-10-29T17:04:31.538" v="1606" actId="790"/>
          <ac:spMkLst>
            <pc:docMk/>
            <pc:sldMk cId="3291831031" sldId="4970"/>
            <ac:spMk id="6" creationId="{1E046C2E-5794-1A98-BBEA-235FF863B218}"/>
          </ac:spMkLst>
        </pc:spChg>
        <pc:picChg chg="replST">
          <ac:chgData name="Dion3, Alain (SPAC/PSPC) (il-lui / he-him)" userId="b5972ad0-fee1-4393-9fd4-8bc589782ac7" providerId="ADAL" clId="{1AEDF86E-8907-478C-8350-466BB0658E91}" dt="2024-10-29T12:54:37.289" v="294"/>
          <ac:picMkLst>
            <pc:docMk/>
            <pc:sldMk cId="3291831031" sldId="4970"/>
            <ac:picMk id="9" creationId="{013C9C46-AB96-1193-BAA4-09DB126E5274}"/>
          </ac:picMkLst>
        </pc:picChg>
      </pc:sldChg>
      <pc:sldChg chg="modSp mod">
        <pc:chgData name="Dion3, Alain (SPAC/PSPC) (il-lui / he-him)" userId="b5972ad0-fee1-4393-9fd4-8bc589782ac7" providerId="ADAL" clId="{1AEDF86E-8907-478C-8350-466BB0658E91}" dt="2024-10-29T15:26:23.045" v="708" actId="13926"/>
        <pc:sldMkLst>
          <pc:docMk/>
          <pc:sldMk cId="2923886881" sldId="4983"/>
        </pc:sldMkLst>
        <pc:spChg chg="mod replST">
          <ac:chgData name="Dion3, Alain (SPAC/PSPC) (il-lui / he-him)" userId="b5972ad0-fee1-4393-9fd4-8bc589782ac7" providerId="ADAL" clId="{1AEDF86E-8907-478C-8350-466BB0658E91}" dt="2024-10-29T12:54:36.648" v="201"/>
          <ac:spMkLst>
            <pc:docMk/>
            <pc:sldMk cId="2923886881" sldId="4983"/>
            <ac:spMk id="5" creationId="{80EAACD6-B4F1-8DE4-7C32-D9BA09515897}"/>
          </ac:spMkLst>
        </pc:spChg>
        <pc:spChg chg="mod replST">
          <ac:chgData name="Dion3, Alain (SPAC/PSPC) (il-lui / he-him)" userId="b5972ad0-fee1-4393-9fd4-8bc589782ac7" providerId="ADAL" clId="{1AEDF86E-8907-478C-8350-466BB0658E91}" dt="2024-10-29T15:26:23.045" v="708" actId="13926"/>
          <ac:spMkLst>
            <pc:docMk/>
            <pc:sldMk cId="2923886881" sldId="4983"/>
            <ac:spMk id="6" creationId="{E721DAC6-2C79-1360-C798-8A813E90139B}"/>
          </ac:spMkLst>
        </pc:spChg>
        <pc:spChg chg="mod replST">
          <ac:chgData name="Dion3, Alain (SPAC/PSPC) (il-lui / he-him)" userId="b5972ad0-fee1-4393-9fd4-8bc589782ac7" providerId="ADAL" clId="{1AEDF86E-8907-478C-8350-466BB0658E91}" dt="2024-10-29T12:54:36.662" v="203"/>
          <ac:spMkLst>
            <pc:docMk/>
            <pc:sldMk cId="2923886881" sldId="4983"/>
            <ac:spMk id="7" creationId="{1BB55E0A-6F72-0999-0ACE-64DCC8775AAC}"/>
          </ac:spMkLst>
        </pc:spChg>
      </pc:sldChg>
      <pc:sldChg chg="modSp mod">
        <pc:chgData name="Dion3, Alain (SPAC/PSPC) (il-lui / he-him)" userId="b5972ad0-fee1-4393-9fd4-8bc589782ac7" providerId="ADAL" clId="{1AEDF86E-8907-478C-8350-466BB0658E91}" dt="2024-10-29T15:41:58.475" v="953" actId="20577"/>
        <pc:sldMkLst>
          <pc:docMk/>
          <pc:sldMk cId="625183133" sldId="4986"/>
        </pc:sldMkLst>
        <pc:spChg chg="mod replST">
          <ac:chgData name="Dion3, Alain (SPAC/PSPC) (il-lui / he-him)" userId="b5972ad0-fee1-4393-9fd4-8bc589782ac7" providerId="ADAL" clId="{1AEDF86E-8907-478C-8350-466BB0658E91}" dt="2024-10-29T15:32:43.466" v="751" actId="20577"/>
          <ac:spMkLst>
            <pc:docMk/>
            <pc:sldMk cId="625183133" sldId="4986"/>
            <ac:spMk id="2" creationId="{459AFBF6-A3FE-12ED-8681-E058ECB7745D}"/>
          </ac:spMkLst>
        </pc:spChg>
        <pc:spChg chg="mod replST">
          <ac:chgData name="Dion3, Alain (SPAC/PSPC) (il-lui / he-him)" userId="b5972ad0-fee1-4393-9fd4-8bc589782ac7" providerId="ADAL" clId="{1AEDF86E-8907-478C-8350-466BB0658E91}" dt="2024-10-29T15:41:58.475" v="953" actId="20577"/>
          <ac:spMkLst>
            <pc:docMk/>
            <pc:sldMk cId="625183133" sldId="4986"/>
            <ac:spMk id="3" creationId="{CC8B02F3-0C27-03C9-5D56-EC07236B6660}"/>
          </ac:spMkLst>
        </pc:spChg>
      </pc:sldChg>
      <pc:sldChg chg="modSp mod">
        <pc:chgData name="Dion3, Alain (SPAC/PSPC) (il-lui / he-him)" userId="b5972ad0-fee1-4393-9fd4-8bc589782ac7" providerId="ADAL" clId="{1AEDF86E-8907-478C-8350-466BB0658E91}" dt="2024-10-29T17:15:52.562" v="1942" actId="20577"/>
        <pc:sldMkLst>
          <pc:docMk/>
          <pc:sldMk cId="3675530289" sldId="4990"/>
        </pc:sldMkLst>
        <pc:spChg chg="mod replST">
          <ac:chgData name="Dion3, Alain (SPAC/PSPC) (il-lui / he-him)" userId="b5972ad0-fee1-4393-9fd4-8bc589782ac7" providerId="ADAL" clId="{1AEDF86E-8907-478C-8350-466BB0658E91}" dt="2024-10-29T17:14:22.699" v="1868" actId="790"/>
          <ac:spMkLst>
            <pc:docMk/>
            <pc:sldMk cId="3675530289" sldId="4990"/>
            <ac:spMk id="2" creationId="{FD8450FA-87DE-CC2B-2FE8-FB60CEE777D2}"/>
          </ac:spMkLst>
        </pc:spChg>
        <pc:spChg chg="mod replST">
          <ac:chgData name="Dion3, Alain (SPAC/PSPC) (il-lui / he-him)" userId="b5972ad0-fee1-4393-9fd4-8bc589782ac7" providerId="ADAL" clId="{1AEDF86E-8907-478C-8350-466BB0658E91}" dt="2024-10-29T17:15:52.562" v="1942" actId="20577"/>
          <ac:spMkLst>
            <pc:docMk/>
            <pc:sldMk cId="3675530289" sldId="4990"/>
            <ac:spMk id="3" creationId="{850EFA27-BB7E-A97B-CC4E-5CD87E1BCE56}"/>
          </ac:spMkLst>
        </pc:spChg>
        <pc:spChg chg="mod replST">
          <ac:chgData name="Dion3, Alain (SPAC/PSPC) (il-lui / he-him)" userId="b5972ad0-fee1-4393-9fd4-8bc589782ac7" providerId="ADAL" clId="{1AEDF86E-8907-478C-8350-466BB0658E91}" dt="2024-10-29T17:14:22.699" v="1868" actId="790"/>
          <ac:spMkLst>
            <pc:docMk/>
            <pc:sldMk cId="3675530289" sldId="4990"/>
            <ac:spMk id="5" creationId="{C106BBF8-09B2-51C8-37AB-01D36F4778F1}"/>
          </ac:spMkLst>
        </pc:spChg>
        <pc:picChg chg="replST">
          <ac:chgData name="Dion3, Alain (SPAC/PSPC) (il-lui / he-him)" userId="b5972ad0-fee1-4393-9fd4-8bc589782ac7" providerId="ADAL" clId="{1AEDF86E-8907-478C-8350-466BB0658E91}" dt="2024-10-29T12:54:37.329" v="300"/>
          <ac:picMkLst>
            <pc:docMk/>
            <pc:sldMk cId="3675530289" sldId="4990"/>
            <ac:picMk id="7" creationId="{029F2DA0-493B-6158-F5EF-5894A99FDE45}"/>
          </ac:picMkLst>
        </pc:picChg>
      </pc:sldChg>
      <pc:sldChg chg="modSp mod">
        <pc:chgData name="Dion3, Alain (SPAC/PSPC) (il-lui / he-him)" userId="b5972ad0-fee1-4393-9fd4-8bc589782ac7" providerId="ADAL" clId="{1AEDF86E-8907-478C-8350-466BB0658E91}" dt="2024-10-30T13:20:40.746" v="3753" actId="20577"/>
        <pc:sldMkLst>
          <pc:docMk/>
          <pc:sldMk cId="388099589" sldId="4992"/>
        </pc:sldMkLst>
        <pc:spChg chg="mod">
          <ac:chgData name="Dion3, Alain (SPAC/PSPC) (il-lui / he-him)" userId="b5972ad0-fee1-4393-9fd4-8bc589782ac7" providerId="ADAL" clId="{1AEDF86E-8907-478C-8350-466BB0658E91}" dt="2024-10-29T17:37:37.216" v="2345" actId="790"/>
          <ac:spMkLst>
            <pc:docMk/>
            <pc:sldMk cId="388099589" sldId="4992"/>
            <ac:spMk id="2" creationId="{C335DD1F-EE65-46A4-6836-FB0648BFC42C}"/>
          </ac:spMkLst>
        </pc:spChg>
        <pc:spChg chg="mod replST">
          <ac:chgData name="Dion3, Alain (SPAC/PSPC) (il-lui / he-him)" userId="b5972ad0-fee1-4393-9fd4-8bc589782ac7" providerId="ADAL" clId="{1AEDF86E-8907-478C-8350-466BB0658E91}" dt="2024-10-30T13:18:16.882" v="3596" actId="20577"/>
          <ac:spMkLst>
            <pc:docMk/>
            <pc:sldMk cId="388099589" sldId="4992"/>
            <ac:spMk id="5" creationId="{E9087704-33C2-751A-AAA2-42D79C68F89B}"/>
          </ac:spMkLst>
        </pc:spChg>
        <pc:spChg chg="mod">
          <ac:chgData name="Dion3, Alain (SPAC/PSPC) (il-lui / he-him)" userId="b5972ad0-fee1-4393-9fd4-8bc589782ac7" providerId="ADAL" clId="{1AEDF86E-8907-478C-8350-466BB0658E91}" dt="2024-10-29T17:37:37.216" v="2345" actId="790"/>
          <ac:spMkLst>
            <pc:docMk/>
            <pc:sldMk cId="388099589" sldId="4992"/>
            <ac:spMk id="14" creationId="{7A5E974F-6B05-08FC-4173-83BBA5A8AE21}"/>
          </ac:spMkLst>
        </pc:spChg>
        <pc:spChg chg="mod replST">
          <ac:chgData name="Dion3, Alain (SPAC/PSPC) (il-lui / he-him)" userId="b5972ad0-fee1-4393-9fd4-8bc589782ac7" providerId="ADAL" clId="{1AEDF86E-8907-478C-8350-466BB0658E91}" dt="2024-10-30T13:20:40.746" v="3753" actId="20577"/>
          <ac:spMkLst>
            <pc:docMk/>
            <pc:sldMk cId="388099589" sldId="4992"/>
            <ac:spMk id="15" creationId="{2A224E51-C8E2-AF04-0A70-65F6548C9FA5}"/>
          </ac:spMkLst>
        </pc:spChg>
        <pc:spChg chg="mod replST">
          <ac:chgData name="Dion3, Alain (SPAC/PSPC) (il-lui / he-him)" userId="b5972ad0-fee1-4393-9fd4-8bc589782ac7" providerId="ADAL" clId="{1AEDF86E-8907-478C-8350-466BB0658E91}" dt="2024-10-29T17:37:37.216" v="2345" actId="790"/>
          <ac:spMkLst>
            <pc:docMk/>
            <pc:sldMk cId="388099589" sldId="4992"/>
            <ac:spMk id="16" creationId="{DDBAA832-5D5B-F155-4F32-06C89A6062D9}"/>
          </ac:spMkLst>
        </pc:spChg>
        <pc:spChg chg="mod replST">
          <ac:chgData name="Dion3, Alain (SPAC/PSPC) (il-lui / he-him)" userId="b5972ad0-fee1-4393-9fd4-8bc589782ac7" providerId="ADAL" clId="{1AEDF86E-8907-478C-8350-466BB0658E91}" dt="2024-10-29T17:37:37.216" v="2345" actId="790"/>
          <ac:spMkLst>
            <pc:docMk/>
            <pc:sldMk cId="388099589" sldId="4992"/>
            <ac:spMk id="17" creationId="{03D46260-31B6-3CBA-D6E4-2A34CD363B83}"/>
          </ac:spMkLst>
        </pc:spChg>
        <pc:spChg chg="mod replST">
          <ac:chgData name="Dion3, Alain (SPAC/PSPC) (il-lui / he-him)" userId="b5972ad0-fee1-4393-9fd4-8bc589782ac7" providerId="ADAL" clId="{1AEDF86E-8907-478C-8350-466BB0658E91}" dt="2024-10-29T17:37:37.216" v="2345" actId="790"/>
          <ac:spMkLst>
            <pc:docMk/>
            <pc:sldMk cId="388099589" sldId="4992"/>
            <ac:spMk id="18" creationId="{4EF912C3-D6D2-8ADB-9455-F0BB3EFD9484}"/>
          </ac:spMkLst>
        </pc:spChg>
        <pc:spChg chg="mod replST">
          <ac:chgData name="Dion3, Alain (SPAC/PSPC) (il-lui / he-him)" userId="b5972ad0-fee1-4393-9fd4-8bc589782ac7" providerId="ADAL" clId="{1AEDF86E-8907-478C-8350-466BB0658E91}" dt="2024-10-29T17:37:37.216" v="2345" actId="790"/>
          <ac:spMkLst>
            <pc:docMk/>
            <pc:sldMk cId="388099589" sldId="4992"/>
            <ac:spMk id="19" creationId="{5DABBC32-D0F2-5FB4-F32B-6ACB5C70FCBB}"/>
          </ac:spMkLst>
        </pc:spChg>
        <pc:spChg chg="mod">
          <ac:chgData name="Dion3, Alain (SPAC/PSPC) (il-lui / he-him)" userId="b5972ad0-fee1-4393-9fd4-8bc589782ac7" providerId="ADAL" clId="{1AEDF86E-8907-478C-8350-466BB0658E91}" dt="2024-10-29T17:37:37.216" v="2345" actId="790"/>
          <ac:spMkLst>
            <pc:docMk/>
            <pc:sldMk cId="388099589" sldId="4992"/>
            <ac:spMk id="21" creationId="{4299E390-035D-ADB8-80FF-70B7B3DA9EAC}"/>
          </ac:spMkLst>
        </pc:spChg>
        <pc:spChg chg="mod">
          <ac:chgData name="Dion3, Alain (SPAC/PSPC) (il-lui / he-him)" userId="b5972ad0-fee1-4393-9fd4-8bc589782ac7" providerId="ADAL" clId="{1AEDF86E-8907-478C-8350-466BB0658E91}" dt="2024-10-29T17:37:37.216" v="2345" actId="790"/>
          <ac:spMkLst>
            <pc:docMk/>
            <pc:sldMk cId="388099589" sldId="4992"/>
            <ac:spMk id="22" creationId="{E4840696-954C-1A4E-6847-D74CEAE33491}"/>
          </ac:spMkLst>
        </pc:spChg>
        <pc:grpChg chg="replST">
          <ac:chgData name="Dion3, Alain (SPAC/PSPC) (il-lui / he-him)" userId="b5972ad0-fee1-4393-9fd4-8bc589782ac7" providerId="ADAL" clId="{1AEDF86E-8907-478C-8350-466BB0658E91}" dt="2024-10-29T12:54:37.485" v="324"/>
          <ac:grpSpMkLst>
            <pc:docMk/>
            <pc:sldMk cId="388099589" sldId="4992"/>
            <ac:grpSpMk id="25" creationId="{E29E7E0E-D92F-F33C-D1BA-963EE4F3E01A}"/>
          </ac:grpSpMkLst>
        </pc:grpChg>
        <pc:grpChg chg="replST">
          <ac:chgData name="Dion3, Alain (SPAC/PSPC) (il-lui / he-him)" userId="b5972ad0-fee1-4393-9fd4-8bc589782ac7" providerId="ADAL" clId="{1AEDF86E-8907-478C-8350-466BB0658E91}" dt="2024-10-29T12:54:37.473" v="322"/>
          <ac:grpSpMkLst>
            <pc:docMk/>
            <pc:sldMk cId="388099589" sldId="4992"/>
            <ac:grpSpMk id="26" creationId="{6E2E158F-7E6D-0196-2835-4CADE1CFB295}"/>
          </ac:grpSpMkLst>
        </pc:grpChg>
        <pc:grpChg chg="replST">
          <ac:chgData name="Dion3, Alain (SPAC/PSPC) (il-lui / he-him)" userId="b5972ad0-fee1-4393-9fd4-8bc589782ac7" providerId="ADAL" clId="{1AEDF86E-8907-478C-8350-466BB0658E91}" dt="2024-10-29T12:54:37.478" v="323"/>
          <ac:grpSpMkLst>
            <pc:docMk/>
            <pc:sldMk cId="388099589" sldId="4992"/>
            <ac:grpSpMk id="27" creationId="{AB01FB73-CE98-45CB-5F16-A502147DF5B3}"/>
          </ac:grpSpMkLst>
        </pc:grpChg>
        <pc:grpChg chg="replST">
          <ac:chgData name="Dion3, Alain (SPAC/PSPC) (il-lui / he-him)" userId="b5972ad0-fee1-4393-9fd4-8bc589782ac7" providerId="ADAL" clId="{1AEDF86E-8907-478C-8350-466BB0658E91}" dt="2024-10-29T12:54:37.469" v="321"/>
          <ac:grpSpMkLst>
            <pc:docMk/>
            <pc:sldMk cId="388099589" sldId="4992"/>
            <ac:grpSpMk id="28" creationId="{6EA4F371-D5EA-8625-54CA-54B81D734C2A}"/>
          </ac:grpSpMkLst>
        </pc:grpChg>
      </pc:sldChg>
      <pc:sldChg chg="modSp mod">
        <pc:chgData name="Dion3, Alain (SPAC/PSPC) (il-lui / he-him)" userId="b5972ad0-fee1-4393-9fd4-8bc589782ac7" providerId="ADAL" clId="{1AEDF86E-8907-478C-8350-466BB0658E91}" dt="2024-10-30T13:39:03.840" v="3969" actId="20577"/>
        <pc:sldMkLst>
          <pc:docMk/>
          <pc:sldMk cId="3248544414" sldId="4993"/>
        </pc:sldMkLst>
        <pc:spChg chg="mod replST">
          <ac:chgData name="Dion3, Alain (SPAC/PSPC) (il-lui / he-him)" userId="b5972ad0-fee1-4393-9fd4-8bc589782ac7" providerId="ADAL" clId="{1AEDF86E-8907-478C-8350-466BB0658E91}" dt="2024-10-30T13:05:13.311" v="3488" actId="790"/>
          <ac:spMkLst>
            <pc:docMk/>
            <pc:sldMk cId="3248544414" sldId="4993"/>
            <ac:spMk id="2" creationId="{614254A6-86DE-4A21-B094-C9AE8BEEF21A}"/>
          </ac:spMkLst>
        </pc:spChg>
        <pc:spChg chg="mod">
          <ac:chgData name="Dion3, Alain (SPAC/PSPC) (il-lui / he-him)" userId="b5972ad0-fee1-4393-9fd4-8bc589782ac7" providerId="ADAL" clId="{1AEDF86E-8907-478C-8350-466BB0658E91}" dt="2024-10-30T13:05:13.311" v="3488" actId="790"/>
          <ac:spMkLst>
            <pc:docMk/>
            <pc:sldMk cId="3248544414" sldId="4993"/>
            <ac:spMk id="4" creationId="{45E3BBE5-EC6C-60B6-101C-EFFCA8D678C3}"/>
          </ac:spMkLst>
        </pc:spChg>
        <pc:spChg chg="mod replST">
          <ac:chgData name="Dion3, Alain (SPAC/PSPC) (il-lui / he-him)" userId="b5972ad0-fee1-4393-9fd4-8bc589782ac7" providerId="ADAL" clId="{1AEDF86E-8907-478C-8350-466BB0658E91}" dt="2024-10-30T13:05:13.311" v="3488" actId="790"/>
          <ac:spMkLst>
            <pc:docMk/>
            <pc:sldMk cId="3248544414" sldId="4993"/>
            <ac:spMk id="8" creationId="{96EFBFBE-8CD7-D471-D8B0-8D13BB75ECC5}"/>
          </ac:spMkLst>
        </pc:spChg>
        <pc:spChg chg="mod replST">
          <ac:chgData name="Dion3, Alain (SPAC/PSPC) (il-lui / he-him)" userId="b5972ad0-fee1-4393-9fd4-8bc589782ac7" providerId="ADAL" clId="{1AEDF86E-8907-478C-8350-466BB0658E91}" dt="2024-10-30T13:06:27.497" v="3546" actId="20577"/>
          <ac:spMkLst>
            <pc:docMk/>
            <pc:sldMk cId="3248544414" sldId="4993"/>
            <ac:spMk id="10" creationId="{2EA7841F-B628-5763-87F4-5C2C97873218}"/>
          </ac:spMkLst>
        </pc:spChg>
        <pc:spChg chg="mod replST">
          <ac:chgData name="Dion3, Alain (SPAC/PSPC) (il-lui / he-him)" userId="b5972ad0-fee1-4393-9fd4-8bc589782ac7" providerId="ADAL" clId="{1AEDF86E-8907-478C-8350-466BB0658E91}" dt="2024-10-30T13:39:03.840" v="3969" actId="20577"/>
          <ac:spMkLst>
            <pc:docMk/>
            <pc:sldMk cId="3248544414" sldId="4993"/>
            <ac:spMk id="11" creationId="{3F9CB8D4-6144-CAF9-0CC6-38351C152F7F}"/>
          </ac:spMkLst>
        </pc:spChg>
        <pc:spChg chg="mod replST">
          <ac:chgData name="Dion3, Alain (SPAC/PSPC) (il-lui / he-him)" userId="b5972ad0-fee1-4393-9fd4-8bc589782ac7" providerId="ADAL" clId="{1AEDF86E-8907-478C-8350-466BB0658E91}" dt="2024-10-30T13:06:13.281" v="3513" actId="20577"/>
          <ac:spMkLst>
            <pc:docMk/>
            <pc:sldMk cId="3248544414" sldId="4993"/>
            <ac:spMk id="13" creationId="{F4B3BF70-A09E-2CC1-D775-70C144DE22D1}"/>
          </ac:spMkLst>
        </pc:spChg>
        <pc:grpChg chg="replST">
          <ac:chgData name="Dion3, Alain (SPAC/PSPC) (il-lui / he-him)" userId="b5972ad0-fee1-4393-9fd4-8bc589782ac7" providerId="ADAL" clId="{1AEDF86E-8907-478C-8350-466BB0658E91}" dt="2024-10-29T12:54:37.520" v="330"/>
          <ac:grpSpMkLst>
            <pc:docMk/>
            <pc:sldMk cId="3248544414" sldId="4993"/>
            <ac:grpSpMk id="3" creationId="{AE983709-3980-9C85-CD65-639C81613A88}"/>
          </ac:grpSpMkLst>
        </pc:grpChg>
      </pc:sldChg>
      <pc:sldChg chg="modSp mod">
        <pc:chgData name="Dion3, Alain (SPAC/PSPC) (il-lui / he-him)" userId="b5972ad0-fee1-4393-9fd4-8bc589782ac7" providerId="ADAL" clId="{1AEDF86E-8907-478C-8350-466BB0658E91}" dt="2024-10-30T14:06:20.486" v="4592" actId="20577"/>
        <pc:sldMkLst>
          <pc:docMk/>
          <pc:sldMk cId="2239565128" sldId="4994"/>
        </pc:sldMkLst>
        <pc:spChg chg="mod replST">
          <ac:chgData name="Dion3, Alain (SPAC/PSPC) (il-lui / he-him)" userId="b5972ad0-fee1-4393-9fd4-8bc589782ac7" providerId="ADAL" clId="{1AEDF86E-8907-478C-8350-466BB0658E91}" dt="2024-10-30T13:05:44.299" v="3489" actId="790"/>
          <ac:spMkLst>
            <pc:docMk/>
            <pc:sldMk cId="2239565128" sldId="4994"/>
            <ac:spMk id="3" creationId="{1CEF9E92-F5EA-929E-089A-77CB316CD4E6}"/>
          </ac:spMkLst>
        </pc:spChg>
        <pc:spChg chg="mod replST">
          <ac:chgData name="Dion3, Alain (SPAC/PSPC) (il-lui / he-him)" userId="b5972ad0-fee1-4393-9fd4-8bc589782ac7" providerId="ADAL" clId="{1AEDF86E-8907-478C-8350-466BB0658E91}" dt="2024-10-30T14:06:20.486" v="4592" actId="20577"/>
          <ac:spMkLst>
            <pc:docMk/>
            <pc:sldMk cId="2239565128" sldId="4994"/>
            <ac:spMk id="4" creationId="{467DDDC7-7CBB-BC5B-C7E3-CCA15A516CCE}"/>
          </ac:spMkLst>
        </pc:spChg>
        <pc:spChg chg="mod replST">
          <ac:chgData name="Dion3, Alain (SPAC/PSPC) (il-lui / he-him)" userId="b5972ad0-fee1-4393-9fd4-8bc589782ac7" providerId="ADAL" clId="{1AEDF86E-8907-478C-8350-466BB0658E91}" dt="2024-10-30T13:39:20.940" v="3985" actId="20577"/>
          <ac:spMkLst>
            <pc:docMk/>
            <pc:sldMk cId="2239565128" sldId="4994"/>
            <ac:spMk id="8" creationId="{D1BB5A4D-1910-BA41-710E-649A068A1729}"/>
          </ac:spMkLst>
        </pc:spChg>
        <pc:spChg chg="mod replST">
          <ac:chgData name="Dion3, Alain (SPAC/PSPC) (il-lui / he-him)" userId="b5972ad0-fee1-4393-9fd4-8bc589782ac7" providerId="ADAL" clId="{1AEDF86E-8907-478C-8350-466BB0658E91}" dt="2024-10-30T13:06:57.418" v="3550"/>
          <ac:spMkLst>
            <pc:docMk/>
            <pc:sldMk cId="2239565128" sldId="4994"/>
            <ac:spMk id="11" creationId="{EEBEEEDC-E1F4-8FA3-B8F2-7A671D83EA29}"/>
          </ac:spMkLst>
        </pc:spChg>
        <pc:spChg chg="mod replST">
          <ac:chgData name="Dion3, Alain (SPAC/PSPC) (il-lui / he-him)" userId="b5972ad0-fee1-4393-9fd4-8bc589782ac7" providerId="ADAL" clId="{1AEDF86E-8907-478C-8350-466BB0658E91}" dt="2024-10-30T13:06:41.925" v="3547"/>
          <ac:spMkLst>
            <pc:docMk/>
            <pc:sldMk cId="2239565128" sldId="4994"/>
            <ac:spMk id="12" creationId="{685A1C3C-CD95-F23A-428E-43FE69A9432E}"/>
          </ac:spMkLst>
        </pc:spChg>
        <pc:spChg chg="mod">
          <ac:chgData name="Dion3, Alain (SPAC/PSPC) (il-lui / he-him)" userId="b5972ad0-fee1-4393-9fd4-8bc589782ac7" providerId="ADAL" clId="{1AEDF86E-8907-478C-8350-466BB0658E91}" dt="2024-10-30T13:05:44.299" v="3489" actId="790"/>
          <ac:spMkLst>
            <pc:docMk/>
            <pc:sldMk cId="2239565128" sldId="4994"/>
            <ac:spMk id="20" creationId="{80986B04-35AD-0CC6-9808-00E4D90395CA}"/>
          </ac:spMkLst>
        </pc:spChg>
        <pc:grpChg chg="replST">
          <ac:chgData name="Dion3, Alain (SPAC/PSPC) (il-lui / he-him)" userId="b5972ad0-fee1-4393-9fd4-8bc589782ac7" providerId="ADAL" clId="{1AEDF86E-8907-478C-8350-466BB0658E91}" dt="2024-10-29T12:54:37.557" v="336"/>
          <ac:grpSpMkLst>
            <pc:docMk/>
            <pc:sldMk cId="2239565128" sldId="4994"/>
            <ac:grpSpMk id="19" creationId="{3F576723-1325-39B0-1B3A-219E42A7C930}"/>
          </ac:grpSpMkLst>
        </pc:grpChg>
      </pc:sldChg>
      <pc:sldChg chg="modSp mod">
        <pc:chgData name="Dion3, Alain (SPAC/PSPC) (il-lui / he-him)" userId="b5972ad0-fee1-4393-9fd4-8bc589782ac7" providerId="ADAL" clId="{1AEDF86E-8907-478C-8350-466BB0658E91}" dt="2024-10-30T13:57:43.341" v="4370" actId="20577"/>
        <pc:sldMkLst>
          <pc:docMk/>
          <pc:sldMk cId="4226407642" sldId="4995"/>
        </pc:sldMkLst>
        <pc:spChg chg="mod replST">
          <ac:chgData name="Dion3, Alain (SPAC/PSPC) (il-lui / he-him)" userId="b5972ad0-fee1-4393-9fd4-8bc589782ac7" providerId="ADAL" clId="{1AEDF86E-8907-478C-8350-466BB0658E91}" dt="2024-10-30T13:39:44.497" v="3986" actId="790"/>
          <ac:spMkLst>
            <pc:docMk/>
            <pc:sldMk cId="4226407642" sldId="4995"/>
            <ac:spMk id="4" creationId="{7A3D9691-2EF5-8BFD-F0A0-97FB021A1A74}"/>
          </ac:spMkLst>
        </pc:spChg>
        <pc:spChg chg="mod replST">
          <ac:chgData name="Dion3, Alain (SPAC/PSPC) (il-lui / he-him)" userId="b5972ad0-fee1-4393-9fd4-8bc589782ac7" providerId="ADAL" clId="{1AEDF86E-8907-478C-8350-466BB0658E91}" dt="2024-10-30T13:45:57.327" v="4040" actId="20577"/>
          <ac:spMkLst>
            <pc:docMk/>
            <pc:sldMk cId="4226407642" sldId="4995"/>
            <ac:spMk id="8" creationId="{A9FC7316-1608-7A0F-764B-4353EE47E850}"/>
          </ac:spMkLst>
        </pc:spChg>
        <pc:spChg chg="mod replST">
          <ac:chgData name="Dion3, Alain (SPAC/PSPC) (il-lui / he-him)" userId="b5972ad0-fee1-4393-9fd4-8bc589782ac7" providerId="ADAL" clId="{1AEDF86E-8907-478C-8350-466BB0658E91}" dt="2024-10-30T13:57:43.341" v="4370" actId="20577"/>
          <ac:spMkLst>
            <pc:docMk/>
            <pc:sldMk cId="4226407642" sldId="4995"/>
            <ac:spMk id="9" creationId="{124B1481-76CC-FA32-D369-30B4187EED5E}"/>
          </ac:spMkLst>
        </pc:spChg>
        <pc:spChg chg="mod replST">
          <ac:chgData name="Dion3, Alain (SPAC/PSPC) (il-lui / he-him)" userId="b5972ad0-fee1-4393-9fd4-8bc589782ac7" providerId="ADAL" clId="{1AEDF86E-8907-478C-8350-466BB0658E91}" dt="2024-10-30T13:39:44.497" v="3986" actId="790"/>
          <ac:spMkLst>
            <pc:docMk/>
            <pc:sldMk cId="4226407642" sldId="4995"/>
            <ac:spMk id="11" creationId="{B2D18239-4E11-C0B2-0631-BF29DDACBA2E}"/>
          </ac:spMkLst>
        </pc:spChg>
        <pc:spChg chg="mod replST">
          <ac:chgData name="Dion3, Alain (SPAC/PSPC) (il-lui / he-him)" userId="b5972ad0-fee1-4393-9fd4-8bc589782ac7" providerId="ADAL" clId="{1AEDF86E-8907-478C-8350-466BB0658E91}" dt="2024-10-30T13:39:44.497" v="3986" actId="790"/>
          <ac:spMkLst>
            <pc:docMk/>
            <pc:sldMk cId="4226407642" sldId="4995"/>
            <ac:spMk id="12" creationId="{C8C85D34-1249-5642-ABED-278CF0494204}"/>
          </ac:spMkLst>
        </pc:spChg>
        <pc:spChg chg="mod">
          <ac:chgData name="Dion3, Alain (SPAC/PSPC) (il-lui / he-him)" userId="b5972ad0-fee1-4393-9fd4-8bc589782ac7" providerId="ADAL" clId="{1AEDF86E-8907-478C-8350-466BB0658E91}" dt="2024-10-30T13:39:44.497" v="3986" actId="790"/>
          <ac:spMkLst>
            <pc:docMk/>
            <pc:sldMk cId="4226407642" sldId="4995"/>
            <ac:spMk id="17" creationId="{BA21A81B-E35B-B8C9-AC72-2CF6A7686DAA}"/>
          </ac:spMkLst>
        </pc:spChg>
        <pc:grpChg chg="replST">
          <ac:chgData name="Dion3, Alain (SPAC/PSPC) (il-lui / he-him)" userId="b5972ad0-fee1-4393-9fd4-8bc589782ac7" providerId="ADAL" clId="{1AEDF86E-8907-478C-8350-466BB0658E91}" dt="2024-10-29T12:54:37.590" v="342"/>
          <ac:grpSpMkLst>
            <pc:docMk/>
            <pc:sldMk cId="4226407642" sldId="4995"/>
            <ac:grpSpMk id="16" creationId="{FF1EFBF3-D81A-B850-4673-EAECE5408B0F}"/>
          </ac:grpSpMkLst>
        </pc:grpChg>
      </pc:sldChg>
      <pc:sldChg chg="modSp mod">
        <pc:chgData name="Dion3, Alain (SPAC/PSPC) (il-lui / he-him)" userId="b5972ad0-fee1-4393-9fd4-8bc589782ac7" providerId="ADAL" clId="{1AEDF86E-8907-478C-8350-466BB0658E91}" dt="2024-10-30T14:04:12.150" v="4582" actId="20577"/>
        <pc:sldMkLst>
          <pc:docMk/>
          <pc:sldMk cId="502785453" sldId="4996"/>
        </pc:sldMkLst>
        <pc:spChg chg="mod replST">
          <ac:chgData name="Dion3, Alain (SPAC/PSPC) (il-lui / he-him)" userId="b5972ad0-fee1-4393-9fd4-8bc589782ac7" providerId="ADAL" clId="{1AEDF86E-8907-478C-8350-466BB0658E91}" dt="2024-10-30T14:03:01.545" v="4486" actId="790"/>
          <ac:spMkLst>
            <pc:docMk/>
            <pc:sldMk cId="502785453" sldId="4996"/>
            <ac:spMk id="4" creationId="{A68055C5-C3B2-54D4-BDF8-80FA55C8F1BD}"/>
          </ac:spMkLst>
        </pc:spChg>
        <pc:spChg chg="mod replST">
          <ac:chgData name="Dion3, Alain (SPAC/PSPC) (il-lui / he-him)" userId="b5972ad0-fee1-4393-9fd4-8bc589782ac7" providerId="ADAL" clId="{1AEDF86E-8907-478C-8350-466BB0658E91}" dt="2024-10-30T14:03:33.303" v="4547" actId="20577"/>
          <ac:spMkLst>
            <pc:docMk/>
            <pc:sldMk cId="502785453" sldId="4996"/>
            <ac:spMk id="5" creationId="{C88249ED-E014-429A-9888-DDF16DFCEC2C}"/>
          </ac:spMkLst>
        </pc:spChg>
        <pc:spChg chg="mod replST">
          <ac:chgData name="Dion3, Alain (SPAC/PSPC) (il-lui / he-him)" userId="b5972ad0-fee1-4393-9fd4-8bc589782ac7" providerId="ADAL" clId="{1AEDF86E-8907-478C-8350-466BB0658E91}" dt="2024-10-30T14:04:12.150" v="4582" actId="20577"/>
          <ac:spMkLst>
            <pc:docMk/>
            <pc:sldMk cId="502785453" sldId="4996"/>
            <ac:spMk id="7" creationId="{81E7E491-8315-FEE2-966F-E34C46249785}"/>
          </ac:spMkLst>
        </pc:spChg>
        <pc:spChg chg="mod replST">
          <ac:chgData name="Dion3, Alain (SPAC/PSPC) (il-lui / he-him)" userId="b5972ad0-fee1-4393-9fd4-8bc589782ac7" providerId="ADAL" clId="{1AEDF86E-8907-478C-8350-466BB0658E91}" dt="2024-10-30T14:03:01.545" v="4486" actId="790"/>
          <ac:spMkLst>
            <pc:docMk/>
            <pc:sldMk cId="502785453" sldId="4996"/>
            <ac:spMk id="11" creationId="{049E70DB-C213-D66B-438D-66BF5CEE21D2}"/>
          </ac:spMkLst>
        </pc:spChg>
        <pc:spChg chg="mod replST">
          <ac:chgData name="Dion3, Alain (SPAC/PSPC) (il-lui / he-him)" userId="b5972ad0-fee1-4393-9fd4-8bc589782ac7" providerId="ADAL" clId="{1AEDF86E-8907-478C-8350-466BB0658E91}" dt="2024-10-30T14:03:01.545" v="4486" actId="790"/>
          <ac:spMkLst>
            <pc:docMk/>
            <pc:sldMk cId="502785453" sldId="4996"/>
            <ac:spMk id="12" creationId="{0F5ECF11-A21D-4775-A59F-D59DD1CA156A}"/>
          </ac:spMkLst>
        </pc:spChg>
        <pc:spChg chg="mod">
          <ac:chgData name="Dion3, Alain (SPAC/PSPC) (il-lui / he-him)" userId="b5972ad0-fee1-4393-9fd4-8bc589782ac7" providerId="ADAL" clId="{1AEDF86E-8907-478C-8350-466BB0658E91}" dt="2024-10-30T14:03:01.545" v="4486" actId="790"/>
          <ac:spMkLst>
            <pc:docMk/>
            <pc:sldMk cId="502785453" sldId="4996"/>
            <ac:spMk id="17" creationId="{158F3CEE-3980-5263-B737-7CC06C369D54}"/>
          </ac:spMkLst>
        </pc:spChg>
        <pc:grpChg chg="replST">
          <ac:chgData name="Dion3, Alain (SPAC/PSPC) (il-lui / he-him)" userId="b5972ad0-fee1-4393-9fd4-8bc589782ac7" providerId="ADAL" clId="{1AEDF86E-8907-478C-8350-466BB0658E91}" dt="2024-10-29T12:54:37.628" v="348"/>
          <ac:grpSpMkLst>
            <pc:docMk/>
            <pc:sldMk cId="502785453" sldId="4996"/>
            <ac:grpSpMk id="16" creationId="{D49879BF-BD63-02D3-8780-7D6114D30F75}"/>
          </ac:grpSpMkLst>
        </pc:grpChg>
      </pc:sldChg>
      <pc:sldChg chg="modSp mod">
        <pc:chgData name="Dion3, Alain (SPAC/PSPC) (il-lui / he-him)" userId="b5972ad0-fee1-4393-9fd4-8bc589782ac7" providerId="ADAL" clId="{1AEDF86E-8907-478C-8350-466BB0658E91}" dt="2024-10-29T15:44:08.584" v="971" actId="20577"/>
        <pc:sldMkLst>
          <pc:docMk/>
          <pc:sldMk cId="581567723" sldId="4998"/>
        </pc:sldMkLst>
        <pc:spChg chg="mod replST">
          <ac:chgData name="Dion3, Alain (SPAC/PSPC) (il-lui / he-him)" userId="b5972ad0-fee1-4393-9fd4-8bc589782ac7" providerId="ADAL" clId="{1AEDF86E-8907-478C-8350-466BB0658E91}" dt="2024-10-29T14:07:52.556" v="586" actId="20577"/>
          <ac:spMkLst>
            <pc:docMk/>
            <pc:sldMk cId="581567723" sldId="4998"/>
            <ac:spMk id="2" creationId="{9DE119AA-C27C-1F93-8533-D6E1F56A43A8}"/>
          </ac:spMkLst>
        </pc:spChg>
        <pc:spChg chg="mod replST">
          <ac:chgData name="Dion3, Alain (SPAC/PSPC) (il-lui / he-him)" userId="b5972ad0-fee1-4393-9fd4-8bc589782ac7" providerId="ADAL" clId="{1AEDF86E-8907-478C-8350-466BB0658E91}" dt="2024-10-29T15:44:08.584" v="971" actId="20577"/>
          <ac:spMkLst>
            <pc:docMk/>
            <pc:sldMk cId="581567723" sldId="4998"/>
            <ac:spMk id="3" creationId="{B4C4C6A1-95F9-4595-D5F9-6FBFE059FF64}"/>
          </ac:spMkLst>
        </pc:spChg>
        <pc:spChg chg="mod replST">
          <ac:chgData name="Dion3, Alain (SPAC/PSPC) (il-lui / he-him)" userId="b5972ad0-fee1-4393-9fd4-8bc589782ac7" providerId="ADAL" clId="{1AEDF86E-8907-478C-8350-466BB0658E91}" dt="2024-10-29T14:09:56.612" v="612" actId="1076"/>
          <ac:spMkLst>
            <pc:docMk/>
            <pc:sldMk cId="581567723" sldId="4998"/>
            <ac:spMk id="115" creationId="{99B313E4-68F8-0E05-784F-777B53C53AD8}"/>
          </ac:spMkLst>
        </pc:spChg>
        <pc:spChg chg="replST">
          <ac:chgData name="Dion3, Alain (SPAC/PSPC) (il-lui / he-him)" userId="b5972ad0-fee1-4393-9fd4-8bc589782ac7" providerId="ADAL" clId="{1AEDF86E-8907-478C-8350-466BB0658E91}" dt="2024-10-29T12:54:36.767" v="216"/>
          <ac:spMkLst>
            <pc:docMk/>
            <pc:sldMk cId="581567723" sldId="4998"/>
            <ac:spMk id="117" creationId="{C9DAC2A6-C89F-2DC3-5552-32890189A83F}"/>
          </ac:spMkLst>
        </pc:spChg>
        <pc:spChg chg="replST">
          <ac:chgData name="Dion3, Alain (SPAC/PSPC) (il-lui / he-him)" userId="b5972ad0-fee1-4393-9fd4-8bc589782ac7" providerId="ADAL" clId="{1AEDF86E-8907-478C-8350-466BB0658E91}" dt="2024-10-29T12:54:36.827" v="225"/>
          <ac:spMkLst>
            <pc:docMk/>
            <pc:sldMk cId="581567723" sldId="4998"/>
            <ac:spMk id="118" creationId="{03606830-0145-BF89-5080-5EDD4851A9CA}"/>
          </ac:spMkLst>
        </pc:spChg>
        <pc:spChg chg="replST">
          <ac:chgData name="Dion3, Alain (SPAC/PSPC) (il-lui / he-him)" userId="b5972ad0-fee1-4393-9fd4-8bc589782ac7" providerId="ADAL" clId="{1AEDF86E-8907-478C-8350-466BB0658E91}" dt="2024-10-29T12:54:36.813" v="223"/>
          <ac:spMkLst>
            <pc:docMk/>
            <pc:sldMk cId="581567723" sldId="4998"/>
            <ac:spMk id="121" creationId="{66B4CDA5-6D84-9E6F-207A-6E00AF65A892}"/>
          </ac:spMkLst>
        </pc:spChg>
        <pc:spChg chg="mod replST">
          <ac:chgData name="Dion3, Alain (SPAC/PSPC) (il-lui / he-him)" userId="b5972ad0-fee1-4393-9fd4-8bc589782ac7" providerId="ADAL" clId="{1AEDF86E-8907-478C-8350-466BB0658E91}" dt="2024-10-29T14:09:36.815" v="609" actId="1076"/>
          <ac:spMkLst>
            <pc:docMk/>
            <pc:sldMk cId="581567723" sldId="4998"/>
            <ac:spMk id="122" creationId="{A9D90BF1-5FA9-70F0-2114-74B647F61343}"/>
          </ac:spMkLst>
        </pc:spChg>
        <pc:spChg chg="mod replST">
          <ac:chgData name="Dion3, Alain (SPAC/PSPC) (il-lui / he-him)" userId="b5972ad0-fee1-4393-9fd4-8bc589782ac7" providerId="ADAL" clId="{1AEDF86E-8907-478C-8350-466BB0658E91}" dt="2024-10-29T14:09:40.952" v="610" actId="1076"/>
          <ac:spMkLst>
            <pc:docMk/>
            <pc:sldMk cId="581567723" sldId="4998"/>
            <ac:spMk id="123" creationId="{96958ADE-A4CF-B97E-6CC3-E67FA3D6703E}"/>
          </ac:spMkLst>
        </pc:spChg>
        <pc:spChg chg="mod replST">
          <ac:chgData name="Dion3, Alain (SPAC/PSPC) (il-lui / he-him)" userId="b5972ad0-fee1-4393-9fd4-8bc589782ac7" providerId="ADAL" clId="{1AEDF86E-8907-478C-8350-466BB0658E91}" dt="2024-10-29T14:09:27.139" v="608" actId="1076"/>
          <ac:spMkLst>
            <pc:docMk/>
            <pc:sldMk cId="581567723" sldId="4998"/>
            <ac:spMk id="125" creationId="{C3A1B379-6571-1C49-58FA-89CBE354E722}"/>
          </ac:spMkLst>
        </pc:spChg>
        <pc:spChg chg="mod replST">
          <ac:chgData name="Dion3, Alain (SPAC/PSPC) (il-lui / he-him)" userId="b5972ad0-fee1-4393-9fd4-8bc589782ac7" providerId="ADAL" clId="{1AEDF86E-8907-478C-8350-466BB0658E91}" dt="2024-10-29T14:09:46.973" v="611" actId="1076"/>
          <ac:spMkLst>
            <pc:docMk/>
            <pc:sldMk cId="581567723" sldId="4998"/>
            <ac:spMk id="126" creationId="{1D166D08-6E2D-80DD-6808-092F6378AC03}"/>
          </ac:spMkLst>
        </pc:spChg>
        <pc:spChg chg="mod replST">
          <ac:chgData name="Dion3, Alain (SPAC/PSPC) (il-lui / he-him)" userId="b5972ad0-fee1-4393-9fd4-8bc589782ac7" providerId="ADAL" clId="{1AEDF86E-8907-478C-8350-466BB0658E91}" dt="2024-10-29T14:10:00.011" v="613" actId="1076"/>
          <ac:spMkLst>
            <pc:docMk/>
            <pc:sldMk cId="581567723" sldId="4998"/>
            <ac:spMk id="130" creationId="{37927CF3-81AF-9EC4-5FAE-0F465D84F953}"/>
          </ac:spMkLst>
        </pc:spChg>
        <pc:spChg chg="mod replST">
          <ac:chgData name="Dion3, Alain (SPAC/PSPC) (il-lui / he-him)" userId="b5972ad0-fee1-4393-9fd4-8bc589782ac7" providerId="ADAL" clId="{1AEDF86E-8907-478C-8350-466BB0658E91}" dt="2024-10-29T14:10:47.315" v="618" actId="14100"/>
          <ac:spMkLst>
            <pc:docMk/>
            <pc:sldMk cId="581567723" sldId="4998"/>
            <ac:spMk id="131" creationId="{F71F5B42-71A6-85F9-508A-7ED7FF32727F}"/>
          </ac:spMkLst>
        </pc:spChg>
        <pc:spChg chg="mod replST">
          <ac:chgData name="Dion3, Alain (SPAC/PSPC) (il-lui / he-him)" userId="b5972ad0-fee1-4393-9fd4-8bc589782ac7" providerId="ADAL" clId="{1AEDF86E-8907-478C-8350-466BB0658E91}" dt="2024-10-29T15:43:52.619" v="961" actId="20577"/>
          <ac:spMkLst>
            <pc:docMk/>
            <pc:sldMk cId="581567723" sldId="4998"/>
            <ac:spMk id="132" creationId="{972E62F7-856E-E74B-98EE-589692A22E88}"/>
          </ac:spMkLst>
        </pc:spChg>
        <pc:grpChg chg="replST">
          <ac:chgData name="Dion3, Alain (SPAC/PSPC) (il-lui / he-him)" userId="b5972ad0-fee1-4393-9fd4-8bc589782ac7" providerId="ADAL" clId="{1AEDF86E-8907-478C-8350-466BB0658E91}" dt="2024-10-29T12:54:36.762" v="215"/>
          <ac:grpSpMkLst>
            <pc:docMk/>
            <pc:sldMk cId="581567723" sldId="4998"/>
            <ac:grpSpMk id="119" creationId="{35030E9D-B4CE-0B9D-28C2-9F05C1F829FA}"/>
          </ac:grpSpMkLst>
        </pc:grpChg>
        <pc:grpChg chg="replST">
          <ac:chgData name="Dion3, Alain (SPAC/PSPC) (il-lui / he-him)" userId="b5972ad0-fee1-4393-9fd4-8bc589782ac7" providerId="ADAL" clId="{1AEDF86E-8907-478C-8350-466BB0658E91}" dt="2024-10-29T12:54:36.821" v="224"/>
          <ac:grpSpMkLst>
            <pc:docMk/>
            <pc:sldMk cId="581567723" sldId="4998"/>
            <ac:grpSpMk id="120" creationId="{A738861C-A5D5-34D0-85CF-51FD1F064393}"/>
          </ac:grpSpMkLst>
        </pc:grpChg>
        <pc:grpChg chg="mod replST">
          <ac:chgData name="Dion3, Alain (SPAC/PSPC) (il-lui / he-him)" userId="b5972ad0-fee1-4393-9fd4-8bc589782ac7" providerId="ADAL" clId="{1AEDF86E-8907-478C-8350-466BB0658E91}" dt="2024-10-29T14:10:44.378" v="617" actId="1076"/>
          <ac:grpSpMkLst>
            <pc:docMk/>
            <pc:sldMk cId="581567723" sldId="4998"/>
            <ac:grpSpMk id="135" creationId="{DFC4213B-24A7-04FD-6312-18CA7ABB7C6D}"/>
          </ac:grpSpMkLst>
        </pc:grpChg>
        <pc:picChg chg="mod replST">
          <ac:chgData name="Dion3, Alain (SPAC/PSPC) (il-lui / he-him)" userId="b5972ad0-fee1-4393-9fd4-8bc589782ac7" providerId="ADAL" clId="{1AEDF86E-8907-478C-8350-466BB0658E91}" dt="2024-10-29T14:10:08.054" v="614" actId="1076"/>
          <ac:picMkLst>
            <pc:docMk/>
            <pc:sldMk cId="581567723" sldId="4998"/>
            <ac:picMk id="128" creationId="{72D7B425-467D-E300-99B1-FF1BD469BAA8}"/>
          </ac:picMkLst>
        </pc:picChg>
        <pc:picChg chg="mod replST">
          <ac:chgData name="Dion3, Alain (SPAC/PSPC) (il-lui / he-him)" userId="b5972ad0-fee1-4393-9fd4-8bc589782ac7" providerId="ADAL" clId="{1AEDF86E-8907-478C-8350-466BB0658E91}" dt="2024-10-29T14:10:08.054" v="614" actId="1076"/>
          <ac:picMkLst>
            <pc:docMk/>
            <pc:sldMk cId="581567723" sldId="4998"/>
            <ac:picMk id="129" creationId="{E625BF06-9D3F-0649-97EF-1BA8A59764D7}"/>
          </ac:picMkLst>
        </pc:picChg>
        <pc:picChg chg="mod replST">
          <ac:chgData name="Dion3, Alain (SPAC/PSPC) (il-lui / he-him)" userId="b5972ad0-fee1-4393-9fd4-8bc589782ac7" providerId="ADAL" clId="{1AEDF86E-8907-478C-8350-466BB0658E91}" dt="2024-10-29T14:10:44.378" v="617" actId="1076"/>
          <ac:picMkLst>
            <pc:docMk/>
            <pc:sldMk cId="581567723" sldId="4998"/>
            <ac:picMk id="133" creationId="{2C4D393D-1B54-98F0-19F7-D0F7CB3EDE01}"/>
          </ac:picMkLst>
        </pc:picChg>
        <pc:picChg chg="mod replST">
          <ac:chgData name="Dion3, Alain (SPAC/PSPC) (il-lui / he-him)" userId="b5972ad0-fee1-4393-9fd4-8bc589782ac7" providerId="ADAL" clId="{1AEDF86E-8907-478C-8350-466BB0658E91}" dt="2024-10-29T14:10:44.378" v="617" actId="1076"/>
          <ac:picMkLst>
            <pc:docMk/>
            <pc:sldMk cId="581567723" sldId="4998"/>
            <ac:picMk id="134" creationId="{5BE65366-221B-6F0C-7BDE-1611F267E4E8}"/>
          </ac:picMkLst>
        </pc:picChg>
      </pc:sldChg>
      <pc:sldChg chg="modSp mod">
        <pc:chgData name="Dion3, Alain (SPAC/PSPC) (il-lui / he-him)" userId="b5972ad0-fee1-4393-9fd4-8bc589782ac7" providerId="ADAL" clId="{1AEDF86E-8907-478C-8350-466BB0658E91}" dt="2024-10-29T17:02:09.335" v="1511" actId="20577"/>
        <pc:sldMkLst>
          <pc:docMk/>
          <pc:sldMk cId="3194185217" sldId="5000"/>
        </pc:sldMkLst>
        <pc:spChg chg="mod replST">
          <ac:chgData name="Dion3, Alain (SPAC/PSPC) (il-lui / he-him)" userId="b5972ad0-fee1-4393-9fd4-8bc589782ac7" providerId="ADAL" clId="{1AEDF86E-8907-478C-8350-466BB0658E91}" dt="2024-10-29T15:36:42.268" v="795" actId="13926"/>
          <ac:spMkLst>
            <pc:docMk/>
            <pc:sldMk cId="3194185217" sldId="5000"/>
            <ac:spMk id="2" creationId="{2828F65A-808D-02D2-738B-A7C5CC9FA5CA}"/>
          </ac:spMkLst>
        </pc:spChg>
        <pc:spChg chg="mod">
          <ac:chgData name="Dion3, Alain (SPAC/PSPC) (il-lui / he-him)" userId="b5972ad0-fee1-4393-9fd4-8bc589782ac7" providerId="ADAL" clId="{1AEDF86E-8907-478C-8350-466BB0658E91}" dt="2024-10-29T15:37:42.855" v="832" actId="20577"/>
          <ac:spMkLst>
            <pc:docMk/>
            <pc:sldMk cId="3194185217" sldId="5000"/>
            <ac:spMk id="5" creationId="{022AD1F7-CC8C-3292-5DCC-261E346D205F}"/>
          </ac:spMkLst>
        </pc:spChg>
        <pc:spChg chg="mod">
          <ac:chgData name="Dion3, Alain (SPAC/PSPC) (il-lui / he-him)" userId="b5972ad0-fee1-4393-9fd4-8bc589782ac7" providerId="ADAL" clId="{1AEDF86E-8907-478C-8350-466BB0658E91}" dt="2024-10-29T14:07:36.546" v="584" actId="790"/>
          <ac:spMkLst>
            <pc:docMk/>
            <pc:sldMk cId="3194185217" sldId="5000"/>
            <ac:spMk id="19" creationId="{BFA234D2-120A-FD69-86AE-5FB98203EDF5}"/>
          </ac:spMkLst>
        </pc:spChg>
        <pc:spChg chg="mod">
          <ac:chgData name="Dion3, Alain (SPAC/PSPC) (il-lui / he-him)" userId="b5972ad0-fee1-4393-9fd4-8bc589782ac7" providerId="ADAL" clId="{1AEDF86E-8907-478C-8350-466BB0658E91}" dt="2024-10-29T14:07:36.546" v="584" actId="790"/>
          <ac:spMkLst>
            <pc:docMk/>
            <pc:sldMk cId="3194185217" sldId="5000"/>
            <ac:spMk id="20" creationId="{94DCBF09-ABA2-C4B6-97FC-220DA50B7E63}"/>
          </ac:spMkLst>
        </pc:spChg>
        <pc:spChg chg="mod">
          <ac:chgData name="Dion3, Alain (SPAC/PSPC) (il-lui / he-him)" userId="b5972ad0-fee1-4393-9fd4-8bc589782ac7" providerId="ADAL" clId="{1AEDF86E-8907-478C-8350-466BB0658E91}" dt="2024-10-29T14:07:36.546" v="584" actId="790"/>
          <ac:spMkLst>
            <pc:docMk/>
            <pc:sldMk cId="3194185217" sldId="5000"/>
            <ac:spMk id="21" creationId="{F0F688BB-42A1-D9B9-B9A0-C12D3974EA66}"/>
          </ac:spMkLst>
        </pc:spChg>
        <pc:spChg chg="mod">
          <ac:chgData name="Dion3, Alain (SPAC/PSPC) (il-lui / he-him)" userId="b5972ad0-fee1-4393-9fd4-8bc589782ac7" providerId="ADAL" clId="{1AEDF86E-8907-478C-8350-466BB0658E91}" dt="2024-10-29T14:07:36.546" v="584" actId="790"/>
          <ac:spMkLst>
            <pc:docMk/>
            <pc:sldMk cId="3194185217" sldId="5000"/>
            <ac:spMk id="32" creationId="{E4E3A91C-A0F3-2DBD-3A42-4B868F01CE67}"/>
          </ac:spMkLst>
        </pc:spChg>
        <pc:spChg chg="mod">
          <ac:chgData name="Dion3, Alain (SPAC/PSPC) (il-lui / he-him)" userId="b5972ad0-fee1-4393-9fd4-8bc589782ac7" providerId="ADAL" clId="{1AEDF86E-8907-478C-8350-466BB0658E91}" dt="2024-10-29T14:07:36.546" v="584" actId="790"/>
          <ac:spMkLst>
            <pc:docMk/>
            <pc:sldMk cId="3194185217" sldId="5000"/>
            <ac:spMk id="33" creationId="{0887182C-EA58-F4C8-0A6F-6284E60A0077}"/>
          </ac:spMkLst>
        </pc:spChg>
        <pc:spChg chg="mod">
          <ac:chgData name="Dion3, Alain (SPAC/PSPC) (il-lui / he-him)" userId="b5972ad0-fee1-4393-9fd4-8bc589782ac7" providerId="ADAL" clId="{1AEDF86E-8907-478C-8350-466BB0658E91}" dt="2024-10-29T14:07:36.546" v="584" actId="790"/>
          <ac:spMkLst>
            <pc:docMk/>
            <pc:sldMk cId="3194185217" sldId="5000"/>
            <ac:spMk id="34" creationId="{85F2CEB4-D0CB-A3BD-A40A-DDA728B058F9}"/>
          </ac:spMkLst>
        </pc:spChg>
        <pc:spChg chg="mod">
          <ac:chgData name="Dion3, Alain (SPAC/PSPC) (il-lui / he-him)" userId="b5972ad0-fee1-4393-9fd4-8bc589782ac7" providerId="ADAL" clId="{1AEDF86E-8907-478C-8350-466BB0658E91}" dt="2024-10-29T14:07:36.546" v="584" actId="790"/>
          <ac:spMkLst>
            <pc:docMk/>
            <pc:sldMk cId="3194185217" sldId="5000"/>
            <ac:spMk id="35" creationId="{F5C5410F-2121-82CA-883E-FE65EBEADE9B}"/>
          </ac:spMkLst>
        </pc:spChg>
        <pc:spChg chg="mod">
          <ac:chgData name="Dion3, Alain (SPAC/PSPC) (il-lui / he-him)" userId="b5972ad0-fee1-4393-9fd4-8bc589782ac7" providerId="ADAL" clId="{1AEDF86E-8907-478C-8350-466BB0658E91}" dt="2024-10-29T14:07:36.546" v="584" actId="790"/>
          <ac:spMkLst>
            <pc:docMk/>
            <pc:sldMk cId="3194185217" sldId="5000"/>
            <ac:spMk id="36" creationId="{E164CD8B-6519-6488-697B-850EC3B890A6}"/>
          </ac:spMkLst>
        </pc:spChg>
        <pc:spChg chg="mod">
          <ac:chgData name="Dion3, Alain (SPAC/PSPC) (il-lui / he-him)" userId="b5972ad0-fee1-4393-9fd4-8bc589782ac7" providerId="ADAL" clId="{1AEDF86E-8907-478C-8350-466BB0658E91}" dt="2024-10-29T14:07:36.546" v="584" actId="790"/>
          <ac:spMkLst>
            <pc:docMk/>
            <pc:sldMk cId="3194185217" sldId="5000"/>
            <ac:spMk id="37" creationId="{A8AC4175-8E9A-70C2-56A5-B068A8EFB7D5}"/>
          </ac:spMkLst>
        </pc:spChg>
        <pc:spChg chg="mod">
          <ac:chgData name="Dion3, Alain (SPAC/PSPC) (il-lui / he-him)" userId="b5972ad0-fee1-4393-9fd4-8bc589782ac7" providerId="ADAL" clId="{1AEDF86E-8907-478C-8350-466BB0658E91}" dt="2024-10-29T14:07:36.546" v="584" actId="790"/>
          <ac:spMkLst>
            <pc:docMk/>
            <pc:sldMk cId="3194185217" sldId="5000"/>
            <ac:spMk id="38" creationId="{67744030-6713-B9D7-0991-3B82A9C289EE}"/>
          </ac:spMkLst>
        </pc:spChg>
        <pc:spChg chg="mod">
          <ac:chgData name="Dion3, Alain (SPAC/PSPC) (il-lui / he-him)" userId="b5972ad0-fee1-4393-9fd4-8bc589782ac7" providerId="ADAL" clId="{1AEDF86E-8907-478C-8350-466BB0658E91}" dt="2024-10-29T14:07:36.546" v="584" actId="790"/>
          <ac:spMkLst>
            <pc:docMk/>
            <pc:sldMk cId="3194185217" sldId="5000"/>
            <ac:spMk id="39" creationId="{3E97E9F0-DC56-D100-7B11-AEF055A97DCA}"/>
          </ac:spMkLst>
        </pc:spChg>
        <pc:spChg chg="mod">
          <ac:chgData name="Dion3, Alain (SPAC/PSPC) (il-lui / he-him)" userId="b5972ad0-fee1-4393-9fd4-8bc589782ac7" providerId="ADAL" clId="{1AEDF86E-8907-478C-8350-466BB0658E91}" dt="2024-10-29T14:07:36.546" v="584" actId="790"/>
          <ac:spMkLst>
            <pc:docMk/>
            <pc:sldMk cId="3194185217" sldId="5000"/>
            <ac:spMk id="40" creationId="{F7073BE9-1671-FEE7-C881-346A3AE2C475}"/>
          </ac:spMkLst>
        </pc:spChg>
        <pc:spChg chg="mod">
          <ac:chgData name="Dion3, Alain (SPAC/PSPC) (il-lui / he-him)" userId="b5972ad0-fee1-4393-9fd4-8bc589782ac7" providerId="ADAL" clId="{1AEDF86E-8907-478C-8350-466BB0658E91}" dt="2024-10-29T14:07:36.546" v="584" actId="790"/>
          <ac:spMkLst>
            <pc:docMk/>
            <pc:sldMk cId="3194185217" sldId="5000"/>
            <ac:spMk id="41" creationId="{06CC2BB9-287A-6152-62E0-425567B829A1}"/>
          </ac:spMkLst>
        </pc:spChg>
        <pc:spChg chg="mod">
          <ac:chgData name="Dion3, Alain (SPAC/PSPC) (il-lui / he-him)" userId="b5972ad0-fee1-4393-9fd4-8bc589782ac7" providerId="ADAL" clId="{1AEDF86E-8907-478C-8350-466BB0658E91}" dt="2024-10-29T14:07:36.546" v="584" actId="790"/>
          <ac:spMkLst>
            <pc:docMk/>
            <pc:sldMk cId="3194185217" sldId="5000"/>
            <ac:spMk id="42" creationId="{6893D8D9-32DD-CF92-2CC1-CE7B0500E134}"/>
          </ac:spMkLst>
        </pc:spChg>
        <pc:spChg chg="mod">
          <ac:chgData name="Dion3, Alain (SPAC/PSPC) (il-lui / he-him)" userId="b5972ad0-fee1-4393-9fd4-8bc589782ac7" providerId="ADAL" clId="{1AEDF86E-8907-478C-8350-466BB0658E91}" dt="2024-10-29T14:07:36.546" v="584" actId="790"/>
          <ac:spMkLst>
            <pc:docMk/>
            <pc:sldMk cId="3194185217" sldId="5000"/>
            <ac:spMk id="43" creationId="{C333FD2E-87B7-6B14-3D2B-9E4CCA21AA9E}"/>
          </ac:spMkLst>
        </pc:spChg>
        <pc:spChg chg="mod">
          <ac:chgData name="Dion3, Alain (SPAC/PSPC) (il-lui / he-him)" userId="b5972ad0-fee1-4393-9fd4-8bc589782ac7" providerId="ADAL" clId="{1AEDF86E-8907-478C-8350-466BB0658E91}" dt="2024-10-29T14:07:36.546" v="584" actId="790"/>
          <ac:spMkLst>
            <pc:docMk/>
            <pc:sldMk cId="3194185217" sldId="5000"/>
            <ac:spMk id="44" creationId="{416A71BF-C1C4-B629-38F7-60E0683827BE}"/>
          </ac:spMkLst>
        </pc:spChg>
        <pc:spChg chg="mod">
          <ac:chgData name="Dion3, Alain (SPAC/PSPC) (il-lui / he-him)" userId="b5972ad0-fee1-4393-9fd4-8bc589782ac7" providerId="ADAL" clId="{1AEDF86E-8907-478C-8350-466BB0658E91}" dt="2024-10-29T14:07:36.546" v="584" actId="790"/>
          <ac:spMkLst>
            <pc:docMk/>
            <pc:sldMk cId="3194185217" sldId="5000"/>
            <ac:spMk id="45" creationId="{98C5E74F-CC52-BDD5-5039-BC7A60803549}"/>
          </ac:spMkLst>
        </pc:spChg>
        <pc:spChg chg="mod">
          <ac:chgData name="Dion3, Alain (SPAC/PSPC) (il-lui / he-him)" userId="b5972ad0-fee1-4393-9fd4-8bc589782ac7" providerId="ADAL" clId="{1AEDF86E-8907-478C-8350-466BB0658E91}" dt="2024-10-29T14:07:36.546" v="584" actId="790"/>
          <ac:spMkLst>
            <pc:docMk/>
            <pc:sldMk cId="3194185217" sldId="5000"/>
            <ac:spMk id="46" creationId="{F5D8FDAD-571E-8BED-294E-116FD8CF6864}"/>
          </ac:spMkLst>
        </pc:spChg>
        <pc:spChg chg="mod">
          <ac:chgData name="Dion3, Alain (SPAC/PSPC) (il-lui / he-him)" userId="b5972ad0-fee1-4393-9fd4-8bc589782ac7" providerId="ADAL" clId="{1AEDF86E-8907-478C-8350-466BB0658E91}" dt="2024-10-29T14:07:36.546" v="584" actId="790"/>
          <ac:spMkLst>
            <pc:docMk/>
            <pc:sldMk cId="3194185217" sldId="5000"/>
            <ac:spMk id="47" creationId="{3B176C01-B35C-12A0-C785-76E84702C722}"/>
          </ac:spMkLst>
        </pc:spChg>
        <pc:spChg chg="mod">
          <ac:chgData name="Dion3, Alain (SPAC/PSPC) (il-lui / he-him)" userId="b5972ad0-fee1-4393-9fd4-8bc589782ac7" providerId="ADAL" clId="{1AEDF86E-8907-478C-8350-466BB0658E91}" dt="2024-10-29T14:07:36.546" v="584" actId="790"/>
          <ac:spMkLst>
            <pc:docMk/>
            <pc:sldMk cId="3194185217" sldId="5000"/>
            <ac:spMk id="48" creationId="{CBCCEA58-A032-F97E-E1D2-BA10AAA854E1}"/>
          </ac:spMkLst>
        </pc:spChg>
        <pc:spChg chg="mod">
          <ac:chgData name="Dion3, Alain (SPAC/PSPC) (il-lui / he-him)" userId="b5972ad0-fee1-4393-9fd4-8bc589782ac7" providerId="ADAL" clId="{1AEDF86E-8907-478C-8350-466BB0658E91}" dt="2024-10-29T14:07:36.546" v="584" actId="790"/>
          <ac:spMkLst>
            <pc:docMk/>
            <pc:sldMk cId="3194185217" sldId="5000"/>
            <ac:spMk id="49" creationId="{A13F8D29-D7AF-4059-F46B-DB7C1E8CA600}"/>
          </ac:spMkLst>
        </pc:spChg>
        <pc:spChg chg="mod">
          <ac:chgData name="Dion3, Alain (SPAC/PSPC) (il-lui / he-him)" userId="b5972ad0-fee1-4393-9fd4-8bc589782ac7" providerId="ADAL" clId="{1AEDF86E-8907-478C-8350-466BB0658E91}" dt="2024-10-29T14:07:36.546" v="584" actId="790"/>
          <ac:spMkLst>
            <pc:docMk/>
            <pc:sldMk cId="3194185217" sldId="5000"/>
            <ac:spMk id="50" creationId="{8B2A6E12-EE1D-E7A4-79CD-487DA302FC38}"/>
          </ac:spMkLst>
        </pc:spChg>
        <pc:spChg chg="mod">
          <ac:chgData name="Dion3, Alain (SPAC/PSPC) (il-lui / he-him)" userId="b5972ad0-fee1-4393-9fd4-8bc589782ac7" providerId="ADAL" clId="{1AEDF86E-8907-478C-8350-466BB0658E91}" dt="2024-10-29T14:07:36.546" v="584" actId="790"/>
          <ac:spMkLst>
            <pc:docMk/>
            <pc:sldMk cId="3194185217" sldId="5000"/>
            <ac:spMk id="51" creationId="{0B3E6690-78E2-CF8D-8F0F-EA15ECF5FBD6}"/>
          </ac:spMkLst>
        </pc:spChg>
        <pc:spChg chg="mod">
          <ac:chgData name="Dion3, Alain (SPAC/PSPC) (il-lui / he-him)" userId="b5972ad0-fee1-4393-9fd4-8bc589782ac7" providerId="ADAL" clId="{1AEDF86E-8907-478C-8350-466BB0658E91}" dt="2024-10-29T14:07:36.546" v="584" actId="790"/>
          <ac:spMkLst>
            <pc:docMk/>
            <pc:sldMk cId="3194185217" sldId="5000"/>
            <ac:spMk id="52" creationId="{7DDC9965-13FC-63C2-649C-6DD553949BEA}"/>
          </ac:spMkLst>
        </pc:spChg>
        <pc:spChg chg="mod">
          <ac:chgData name="Dion3, Alain (SPAC/PSPC) (il-lui / he-him)" userId="b5972ad0-fee1-4393-9fd4-8bc589782ac7" providerId="ADAL" clId="{1AEDF86E-8907-478C-8350-466BB0658E91}" dt="2024-10-29T14:07:36.546" v="584" actId="790"/>
          <ac:spMkLst>
            <pc:docMk/>
            <pc:sldMk cId="3194185217" sldId="5000"/>
            <ac:spMk id="53" creationId="{E8CD7EF2-FC5D-142D-E39A-979698AF67B5}"/>
          </ac:spMkLst>
        </pc:spChg>
        <pc:spChg chg="mod">
          <ac:chgData name="Dion3, Alain (SPAC/PSPC) (il-lui / he-him)" userId="b5972ad0-fee1-4393-9fd4-8bc589782ac7" providerId="ADAL" clId="{1AEDF86E-8907-478C-8350-466BB0658E91}" dt="2024-10-29T14:07:36.546" v="584" actId="790"/>
          <ac:spMkLst>
            <pc:docMk/>
            <pc:sldMk cId="3194185217" sldId="5000"/>
            <ac:spMk id="54" creationId="{A2738999-A52D-6EBC-35EB-31AA0796BD36}"/>
          </ac:spMkLst>
        </pc:spChg>
        <pc:spChg chg="mod">
          <ac:chgData name="Dion3, Alain (SPAC/PSPC) (il-lui / he-him)" userId="b5972ad0-fee1-4393-9fd4-8bc589782ac7" providerId="ADAL" clId="{1AEDF86E-8907-478C-8350-466BB0658E91}" dt="2024-10-29T14:07:36.546" v="584" actId="790"/>
          <ac:spMkLst>
            <pc:docMk/>
            <pc:sldMk cId="3194185217" sldId="5000"/>
            <ac:spMk id="55" creationId="{6F996561-7321-3323-DBAF-F6D9CE1FF309}"/>
          </ac:spMkLst>
        </pc:spChg>
        <pc:spChg chg="mod">
          <ac:chgData name="Dion3, Alain (SPAC/PSPC) (il-lui / he-him)" userId="b5972ad0-fee1-4393-9fd4-8bc589782ac7" providerId="ADAL" clId="{1AEDF86E-8907-478C-8350-466BB0658E91}" dt="2024-10-29T14:07:36.546" v="584" actId="790"/>
          <ac:spMkLst>
            <pc:docMk/>
            <pc:sldMk cId="3194185217" sldId="5000"/>
            <ac:spMk id="56" creationId="{5A3ED452-BE60-181F-9C97-203C7BF40DA7}"/>
          </ac:spMkLst>
        </pc:spChg>
        <pc:spChg chg="mod">
          <ac:chgData name="Dion3, Alain (SPAC/PSPC) (il-lui / he-him)" userId="b5972ad0-fee1-4393-9fd4-8bc589782ac7" providerId="ADAL" clId="{1AEDF86E-8907-478C-8350-466BB0658E91}" dt="2024-10-29T14:07:36.546" v="584" actId="790"/>
          <ac:spMkLst>
            <pc:docMk/>
            <pc:sldMk cId="3194185217" sldId="5000"/>
            <ac:spMk id="57" creationId="{1EC8989F-4D83-6D20-1012-6F5C584E9D6D}"/>
          </ac:spMkLst>
        </pc:spChg>
        <pc:spChg chg="mod">
          <ac:chgData name="Dion3, Alain (SPAC/PSPC) (il-lui / he-him)" userId="b5972ad0-fee1-4393-9fd4-8bc589782ac7" providerId="ADAL" clId="{1AEDF86E-8907-478C-8350-466BB0658E91}" dt="2024-10-29T14:07:36.546" v="584" actId="790"/>
          <ac:spMkLst>
            <pc:docMk/>
            <pc:sldMk cId="3194185217" sldId="5000"/>
            <ac:spMk id="58" creationId="{815DE183-7218-A4B1-B860-C06F4309AA3D}"/>
          </ac:spMkLst>
        </pc:spChg>
        <pc:spChg chg="mod">
          <ac:chgData name="Dion3, Alain (SPAC/PSPC) (il-lui / he-him)" userId="b5972ad0-fee1-4393-9fd4-8bc589782ac7" providerId="ADAL" clId="{1AEDF86E-8907-478C-8350-466BB0658E91}" dt="2024-10-29T14:07:36.546" v="584" actId="790"/>
          <ac:spMkLst>
            <pc:docMk/>
            <pc:sldMk cId="3194185217" sldId="5000"/>
            <ac:spMk id="62" creationId="{5782BE9B-2DA4-9E7F-B316-A6EE751FB6AD}"/>
          </ac:spMkLst>
        </pc:spChg>
        <pc:spChg chg="mod">
          <ac:chgData name="Dion3, Alain (SPAC/PSPC) (il-lui / he-him)" userId="b5972ad0-fee1-4393-9fd4-8bc589782ac7" providerId="ADAL" clId="{1AEDF86E-8907-478C-8350-466BB0658E91}" dt="2024-10-29T14:07:36.546" v="584" actId="790"/>
          <ac:spMkLst>
            <pc:docMk/>
            <pc:sldMk cId="3194185217" sldId="5000"/>
            <ac:spMk id="64" creationId="{45855FC7-0B38-C3F8-AFE7-BDEDD1B91CF4}"/>
          </ac:spMkLst>
        </pc:spChg>
        <pc:spChg chg="mod">
          <ac:chgData name="Dion3, Alain (SPAC/PSPC) (il-lui / he-him)" userId="b5972ad0-fee1-4393-9fd4-8bc589782ac7" providerId="ADAL" clId="{1AEDF86E-8907-478C-8350-466BB0658E91}" dt="2024-10-29T14:07:36.546" v="584" actId="790"/>
          <ac:spMkLst>
            <pc:docMk/>
            <pc:sldMk cId="3194185217" sldId="5000"/>
            <ac:spMk id="65" creationId="{F1D04CFE-85CE-CB35-D9A6-4088A8212AC2}"/>
          </ac:spMkLst>
        </pc:spChg>
        <pc:spChg chg="mod">
          <ac:chgData name="Dion3, Alain (SPAC/PSPC) (il-lui / he-him)" userId="b5972ad0-fee1-4393-9fd4-8bc589782ac7" providerId="ADAL" clId="{1AEDF86E-8907-478C-8350-466BB0658E91}" dt="2024-10-29T14:07:36.546" v="584" actId="790"/>
          <ac:spMkLst>
            <pc:docMk/>
            <pc:sldMk cId="3194185217" sldId="5000"/>
            <ac:spMk id="67" creationId="{1321C3BD-88DD-C688-5910-FBAD83F66D2C}"/>
          </ac:spMkLst>
        </pc:spChg>
        <pc:spChg chg="mod">
          <ac:chgData name="Dion3, Alain (SPAC/PSPC) (il-lui / he-him)" userId="b5972ad0-fee1-4393-9fd4-8bc589782ac7" providerId="ADAL" clId="{1AEDF86E-8907-478C-8350-466BB0658E91}" dt="2024-10-29T14:07:36.546" v="584" actId="790"/>
          <ac:spMkLst>
            <pc:docMk/>
            <pc:sldMk cId="3194185217" sldId="5000"/>
            <ac:spMk id="68" creationId="{AC66B73B-D041-44D2-DE28-1F67D152F3A1}"/>
          </ac:spMkLst>
        </pc:spChg>
        <pc:spChg chg="mod">
          <ac:chgData name="Dion3, Alain (SPAC/PSPC) (il-lui / he-him)" userId="b5972ad0-fee1-4393-9fd4-8bc589782ac7" providerId="ADAL" clId="{1AEDF86E-8907-478C-8350-466BB0658E91}" dt="2024-10-29T14:07:36.546" v="584" actId="790"/>
          <ac:spMkLst>
            <pc:docMk/>
            <pc:sldMk cId="3194185217" sldId="5000"/>
            <ac:spMk id="69" creationId="{CDB7C5CD-F4AC-8A66-5378-BF3E4CB2B2A8}"/>
          </ac:spMkLst>
        </pc:spChg>
        <pc:spChg chg="mod">
          <ac:chgData name="Dion3, Alain (SPAC/PSPC) (il-lui / he-him)" userId="b5972ad0-fee1-4393-9fd4-8bc589782ac7" providerId="ADAL" clId="{1AEDF86E-8907-478C-8350-466BB0658E91}" dt="2024-10-29T14:07:36.546" v="584" actId="790"/>
          <ac:spMkLst>
            <pc:docMk/>
            <pc:sldMk cId="3194185217" sldId="5000"/>
            <ac:spMk id="70" creationId="{0345FD51-2B7B-EF07-5887-2EBFDF34C717}"/>
          </ac:spMkLst>
        </pc:spChg>
        <pc:spChg chg="mod">
          <ac:chgData name="Dion3, Alain (SPAC/PSPC) (il-lui / he-him)" userId="b5972ad0-fee1-4393-9fd4-8bc589782ac7" providerId="ADAL" clId="{1AEDF86E-8907-478C-8350-466BB0658E91}" dt="2024-10-29T14:07:36.546" v="584" actId="790"/>
          <ac:spMkLst>
            <pc:docMk/>
            <pc:sldMk cId="3194185217" sldId="5000"/>
            <ac:spMk id="71" creationId="{C6BF1ADF-E135-B21B-74D8-9F28DBAAFD66}"/>
          </ac:spMkLst>
        </pc:spChg>
        <pc:spChg chg="mod">
          <ac:chgData name="Dion3, Alain (SPAC/PSPC) (il-lui / he-him)" userId="b5972ad0-fee1-4393-9fd4-8bc589782ac7" providerId="ADAL" clId="{1AEDF86E-8907-478C-8350-466BB0658E91}" dt="2024-10-29T14:07:36.546" v="584" actId="790"/>
          <ac:spMkLst>
            <pc:docMk/>
            <pc:sldMk cId="3194185217" sldId="5000"/>
            <ac:spMk id="72" creationId="{539BFB47-01E8-3E08-8FB1-2F7C72B27323}"/>
          </ac:spMkLst>
        </pc:spChg>
        <pc:spChg chg="mod">
          <ac:chgData name="Dion3, Alain (SPAC/PSPC) (il-lui / he-him)" userId="b5972ad0-fee1-4393-9fd4-8bc589782ac7" providerId="ADAL" clId="{1AEDF86E-8907-478C-8350-466BB0658E91}" dt="2024-10-29T14:07:36.546" v="584" actId="790"/>
          <ac:spMkLst>
            <pc:docMk/>
            <pc:sldMk cId="3194185217" sldId="5000"/>
            <ac:spMk id="73" creationId="{AC9D358B-D420-79BA-6D60-04D058CBF1FA}"/>
          </ac:spMkLst>
        </pc:spChg>
        <pc:spChg chg="mod">
          <ac:chgData name="Dion3, Alain (SPAC/PSPC) (il-lui / he-him)" userId="b5972ad0-fee1-4393-9fd4-8bc589782ac7" providerId="ADAL" clId="{1AEDF86E-8907-478C-8350-466BB0658E91}" dt="2024-10-29T14:07:36.546" v="584" actId="790"/>
          <ac:spMkLst>
            <pc:docMk/>
            <pc:sldMk cId="3194185217" sldId="5000"/>
            <ac:spMk id="74" creationId="{1B335456-D634-A7D1-484E-B60B8D80EDC3}"/>
          </ac:spMkLst>
        </pc:spChg>
        <pc:spChg chg="mod">
          <ac:chgData name="Dion3, Alain (SPAC/PSPC) (il-lui / he-him)" userId="b5972ad0-fee1-4393-9fd4-8bc589782ac7" providerId="ADAL" clId="{1AEDF86E-8907-478C-8350-466BB0658E91}" dt="2024-10-29T14:07:36.546" v="584" actId="790"/>
          <ac:spMkLst>
            <pc:docMk/>
            <pc:sldMk cId="3194185217" sldId="5000"/>
            <ac:spMk id="75" creationId="{21FEA7B0-C92C-4F85-D04E-D2A6ED4CADE4}"/>
          </ac:spMkLst>
        </pc:spChg>
        <pc:spChg chg="mod">
          <ac:chgData name="Dion3, Alain (SPAC/PSPC) (il-lui / he-him)" userId="b5972ad0-fee1-4393-9fd4-8bc589782ac7" providerId="ADAL" clId="{1AEDF86E-8907-478C-8350-466BB0658E91}" dt="2024-10-29T14:07:36.546" v="584" actId="790"/>
          <ac:spMkLst>
            <pc:docMk/>
            <pc:sldMk cId="3194185217" sldId="5000"/>
            <ac:spMk id="76" creationId="{ABEE8544-1D26-9200-CDF0-D1350CA08421}"/>
          </ac:spMkLst>
        </pc:spChg>
        <pc:spChg chg="mod">
          <ac:chgData name="Dion3, Alain (SPAC/PSPC) (il-lui / he-him)" userId="b5972ad0-fee1-4393-9fd4-8bc589782ac7" providerId="ADAL" clId="{1AEDF86E-8907-478C-8350-466BB0658E91}" dt="2024-10-29T14:07:36.546" v="584" actId="790"/>
          <ac:spMkLst>
            <pc:docMk/>
            <pc:sldMk cId="3194185217" sldId="5000"/>
            <ac:spMk id="77" creationId="{E44F8EE3-ED60-217F-00DB-6DEA5587984D}"/>
          </ac:spMkLst>
        </pc:spChg>
        <pc:spChg chg="mod">
          <ac:chgData name="Dion3, Alain (SPAC/PSPC) (il-lui / he-him)" userId="b5972ad0-fee1-4393-9fd4-8bc589782ac7" providerId="ADAL" clId="{1AEDF86E-8907-478C-8350-466BB0658E91}" dt="2024-10-29T14:07:36.546" v="584" actId="790"/>
          <ac:spMkLst>
            <pc:docMk/>
            <pc:sldMk cId="3194185217" sldId="5000"/>
            <ac:spMk id="78" creationId="{721FD5B1-B8E8-81F5-1A1C-B73F2499E044}"/>
          </ac:spMkLst>
        </pc:spChg>
        <pc:spChg chg="mod">
          <ac:chgData name="Dion3, Alain (SPAC/PSPC) (il-lui / he-him)" userId="b5972ad0-fee1-4393-9fd4-8bc589782ac7" providerId="ADAL" clId="{1AEDF86E-8907-478C-8350-466BB0658E91}" dt="2024-10-29T14:07:36.546" v="584" actId="790"/>
          <ac:spMkLst>
            <pc:docMk/>
            <pc:sldMk cId="3194185217" sldId="5000"/>
            <ac:spMk id="79" creationId="{59CB107C-EFA5-0571-874A-71E040057DA9}"/>
          </ac:spMkLst>
        </pc:spChg>
        <pc:spChg chg="mod">
          <ac:chgData name="Dion3, Alain (SPAC/PSPC) (il-lui / he-him)" userId="b5972ad0-fee1-4393-9fd4-8bc589782ac7" providerId="ADAL" clId="{1AEDF86E-8907-478C-8350-466BB0658E91}" dt="2024-10-29T14:07:36.546" v="584" actId="790"/>
          <ac:spMkLst>
            <pc:docMk/>
            <pc:sldMk cId="3194185217" sldId="5000"/>
            <ac:spMk id="80" creationId="{3628AC16-36E1-9F26-FCE2-3D4ACC068FED}"/>
          </ac:spMkLst>
        </pc:spChg>
        <pc:spChg chg="mod">
          <ac:chgData name="Dion3, Alain (SPAC/PSPC) (il-lui / he-him)" userId="b5972ad0-fee1-4393-9fd4-8bc589782ac7" providerId="ADAL" clId="{1AEDF86E-8907-478C-8350-466BB0658E91}" dt="2024-10-29T14:07:36.546" v="584" actId="790"/>
          <ac:spMkLst>
            <pc:docMk/>
            <pc:sldMk cId="3194185217" sldId="5000"/>
            <ac:spMk id="81" creationId="{55B8F6F9-30B5-38AD-5C41-FF97AE574FB1}"/>
          </ac:spMkLst>
        </pc:spChg>
        <pc:spChg chg="mod">
          <ac:chgData name="Dion3, Alain (SPAC/PSPC) (il-lui / he-him)" userId="b5972ad0-fee1-4393-9fd4-8bc589782ac7" providerId="ADAL" clId="{1AEDF86E-8907-478C-8350-466BB0658E91}" dt="2024-10-29T14:07:36.546" v="584" actId="790"/>
          <ac:spMkLst>
            <pc:docMk/>
            <pc:sldMk cId="3194185217" sldId="5000"/>
            <ac:spMk id="82" creationId="{04074352-6561-469C-9CA8-58B3994C0B48}"/>
          </ac:spMkLst>
        </pc:spChg>
        <pc:spChg chg="mod">
          <ac:chgData name="Dion3, Alain (SPAC/PSPC) (il-lui / he-him)" userId="b5972ad0-fee1-4393-9fd4-8bc589782ac7" providerId="ADAL" clId="{1AEDF86E-8907-478C-8350-466BB0658E91}" dt="2024-10-29T14:07:36.546" v="584" actId="790"/>
          <ac:spMkLst>
            <pc:docMk/>
            <pc:sldMk cId="3194185217" sldId="5000"/>
            <ac:spMk id="83" creationId="{1FF1D28E-71DB-BB24-D0F9-B7127B862037}"/>
          </ac:spMkLst>
        </pc:spChg>
        <pc:spChg chg="mod">
          <ac:chgData name="Dion3, Alain (SPAC/PSPC) (il-lui / he-him)" userId="b5972ad0-fee1-4393-9fd4-8bc589782ac7" providerId="ADAL" clId="{1AEDF86E-8907-478C-8350-466BB0658E91}" dt="2024-10-29T14:07:36.546" v="584" actId="790"/>
          <ac:spMkLst>
            <pc:docMk/>
            <pc:sldMk cId="3194185217" sldId="5000"/>
            <ac:spMk id="84" creationId="{4A95BE5C-9695-5A49-5F7B-42E0D306B511}"/>
          </ac:spMkLst>
        </pc:spChg>
        <pc:spChg chg="mod">
          <ac:chgData name="Dion3, Alain (SPAC/PSPC) (il-lui / he-him)" userId="b5972ad0-fee1-4393-9fd4-8bc589782ac7" providerId="ADAL" clId="{1AEDF86E-8907-478C-8350-466BB0658E91}" dt="2024-10-29T14:07:36.546" v="584" actId="790"/>
          <ac:spMkLst>
            <pc:docMk/>
            <pc:sldMk cId="3194185217" sldId="5000"/>
            <ac:spMk id="85" creationId="{C71A26AD-7EF2-1E88-3459-C38894A489EA}"/>
          </ac:spMkLst>
        </pc:spChg>
        <pc:spChg chg="mod">
          <ac:chgData name="Dion3, Alain (SPAC/PSPC) (il-lui / he-him)" userId="b5972ad0-fee1-4393-9fd4-8bc589782ac7" providerId="ADAL" clId="{1AEDF86E-8907-478C-8350-466BB0658E91}" dt="2024-10-29T14:07:36.546" v="584" actId="790"/>
          <ac:spMkLst>
            <pc:docMk/>
            <pc:sldMk cId="3194185217" sldId="5000"/>
            <ac:spMk id="86" creationId="{E2DC76E6-D970-DFF5-B90F-B7A37D44948C}"/>
          </ac:spMkLst>
        </pc:spChg>
        <pc:spChg chg="mod">
          <ac:chgData name="Dion3, Alain (SPAC/PSPC) (il-lui / he-him)" userId="b5972ad0-fee1-4393-9fd4-8bc589782ac7" providerId="ADAL" clId="{1AEDF86E-8907-478C-8350-466BB0658E91}" dt="2024-10-29T14:07:36.546" v="584" actId="790"/>
          <ac:spMkLst>
            <pc:docMk/>
            <pc:sldMk cId="3194185217" sldId="5000"/>
            <ac:spMk id="87" creationId="{F30F4DAF-7030-3561-F330-42BCA5B33E01}"/>
          </ac:spMkLst>
        </pc:spChg>
        <pc:spChg chg="mod">
          <ac:chgData name="Dion3, Alain (SPAC/PSPC) (il-lui / he-him)" userId="b5972ad0-fee1-4393-9fd4-8bc589782ac7" providerId="ADAL" clId="{1AEDF86E-8907-478C-8350-466BB0658E91}" dt="2024-10-29T14:07:36.546" v="584" actId="790"/>
          <ac:spMkLst>
            <pc:docMk/>
            <pc:sldMk cId="3194185217" sldId="5000"/>
            <ac:spMk id="88" creationId="{3C579C58-B8F2-9B89-39A4-CE396AD876FA}"/>
          </ac:spMkLst>
        </pc:spChg>
        <pc:spChg chg="mod">
          <ac:chgData name="Dion3, Alain (SPAC/PSPC) (il-lui / he-him)" userId="b5972ad0-fee1-4393-9fd4-8bc589782ac7" providerId="ADAL" clId="{1AEDF86E-8907-478C-8350-466BB0658E91}" dt="2024-10-29T14:07:36.546" v="584" actId="790"/>
          <ac:spMkLst>
            <pc:docMk/>
            <pc:sldMk cId="3194185217" sldId="5000"/>
            <ac:spMk id="89" creationId="{77BAA2A7-9892-D252-FEB0-4274F4B26BFB}"/>
          </ac:spMkLst>
        </pc:spChg>
        <pc:spChg chg="mod">
          <ac:chgData name="Dion3, Alain (SPAC/PSPC) (il-lui / he-him)" userId="b5972ad0-fee1-4393-9fd4-8bc589782ac7" providerId="ADAL" clId="{1AEDF86E-8907-478C-8350-466BB0658E91}" dt="2024-10-29T14:07:36.546" v="584" actId="790"/>
          <ac:spMkLst>
            <pc:docMk/>
            <pc:sldMk cId="3194185217" sldId="5000"/>
            <ac:spMk id="90" creationId="{20801CB3-FA6C-754B-C6C6-26EDFB7EF772}"/>
          </ac:spMkLst>
        </pc:spChg>
        <pc:spChg chg="mod">
          <ac:chgData name="Dion3, Alain (SPAC/PSPC) (il-lui / he-him)" userId="b5972ad0-fee1-4393-9fd4-8bc589782ac7" providerId="ADAL" clId="{1AEDF86E-8907-478C-8350-466BB0658E91}" dt="2024-10-29T14:07:36.546" v="584" actId="790"/>
          <ac:spMkLst>
            <pc:docMk/>
            <pc:sldMk cId="3194185217" sldId="5000"/>
            <ac:spMk id="91" creationId="{0200689D-EE6B-6145-A12C-BE279410E9F1}"/>
          </ac:spMkLst>
        </pc:spChg>
        <pc:spChg chg="mod">
          <ac:chgData name="Dion3, Alain (SPAC/PSPC) (il-lui / he-him)" userId="b5972ad0-fee1-4393-9fd4-8bc589782ac7" providerId="ADAL" clId="{1AEDF86E-8907-478C-8350-466BB0658E91}" dt="2024-10-29T14:07:36.546" v="584" actId="790"/>
          <ac:spMkLst>
            <pc:docMk/>
            <pc:sldMk cId="3194185217" sldId="5000"/>
            <ac:spMk id="92" creationId="{2B387E84-5579-4099-4E6C-397361752321}"/>
          </ac:spMkLst>
        </pc:spChg>
        <pc:spChg chg="mod">
          <ac:chgData name="Dion3, Alain (SPAC/PSPC) (il-lui / he-him)" userId="b5972ad0-fee1-4393-9fd4-8bc589782ac7" providerId="ADAL" clId="{1AEDF86E-8907-478C-8350-466BB0658E91}" dt="2024-10-29T14:07:36.546" v="584" actId="790"/>
          <ac:spMkLst>
            <pc:docMk/>
            <pc:sldMk cId="3194185217" sldId="5000"/>
            <ac:spMk id="93" creationId="{9A0275B6-C321-7E11-4AF0-0FFBB26A3840}"/>
          </ac:spMkLst>
        </pc:spChg>
        <pc:spChg chg="mod">
          <ac:chgData name="Dion3, Alain (SPAC/PSPC) (il-lui / he-him)" userId="b5972ad0-fee1-4393-9fd4-8bc589782ac7" providerId="ADAL" clId="{1AEDF86E-8907-478C-8350-466BB0658E91}" dt="2024-10-29T14:07:36.546" v="584" actId="790"/>
          <ac:spMkLst>
            <pc:docMk/>
            <pc:sldMk cId="3194185217" sldId="5000"/>
            <ac:spMk id="94" creationId="{816E36D8-4D0D-276D-9D29-0E1CF4EA29AF}"/>
          </ac:spMkLst>
        </pc:spChg>
        <pc:spChg chg="mod">
          <ac:chgData name="Dion3, Alain (SPAC/PSPC) (il-lui / he-him)" userId="b5972ad0-fee1-4393-9fd4-8bc589782ac7" providerId="ADAL" clId="{1AEDF86E-8907-478C-8350-466BB0658E91}" dt="2024-10-29T14:07:36.546" v="584" actId="790"/>
          <ac:spMkLst>
            <pc:docMk/>
            <pc:sldMk cId="3194185217" sldId="5000"/>
            <ac:spMk id="95" creationId="{B406834C-98FA-B5CC-19A2-C0A6B60B4A99}"/>
          </ac:spMkLst>
        </pc:spChg>
        <pc:spChg chg="mod">
          <ac:chgData name="Dion3, Alain (SPAC/PSPC) (il-lui / he-him)" userId="b5972ad0-fee1-4393-9fd4-8bc589782ac7" providerId="ADAL" clId="{1AEDF86E-8907-478C-8350-466BB0658E91}" dt="2024-10-29T14:07:36.546" v="584" actId="790"/>
          <ac:spMkLst>
            <pc:docMk/>
            <pc:sldMk cId="3194185217" sldId="5000"/>
            <ac:spMk id="96" creationId="{D23CECA9-93C2-90B1-7592-4A25ED3A0C27}"/>
          </ac:spMkLst>
        </pc:spChg>
        <pc:spChg chg="mod">
          <ac:chgData name="Dion3, Alain (SPAC/PSPC) (il-lui / he-him)" userId="b5972ad0-fee1-4393-9fd4-8bc589782ac7" providerId="ADAL" clId="{1AEDF86E-8907-478C-8350-466BB0658E91}" dt="2024-10-29T14:07:36.546" v="584" actId="790"/>
          <ac:spMkLst>
            <pc:docMk/>
            <pc:sldMk cId="3194185217" sldId="5000"/>
            <ac:spMk id="97" creationId="{D72090B6-A1EC-D213-3FC8-3B15E5F8EE7B}"/>
          </ac:spMkLst>
        </pc:spChg>
        <pc:spChg chg="mod">
          <ac:chgData name="Dion3, Alain (SPAC/PSPC) (il-lui / he-him)" userId="b5972ad0-fee1-4393-9fd4-8bc589782ac7" providerId="ADAL" clId="{1AEDF86E-8907-478C-8350-466BB0658E91}" dt="2024-10-29T14:07:36.546" v="584" actId="790"/>
          <ac:spMkLst>
            <pc:docMk/>
            <pc:sldMk cId="3194185217" sldId="5000"/>
            <ac:spMk id="98" creationId="{ADAB80AC-6DD5-8EE6-B759-3EA42BF3ACFD}"/>
          </ac:spMkLst>
        </pc:spChg>
        <pc:spChg chg="mod">
          <ac:chgData name="Dion3, Alain (SPAC/PSPC) (il-lui / he-him)" userId="b5972ad0-fee1-4393-9fd4-8bc589782ac7" providerId="ADAL" clId="{1AEDF86E-8907-478C-8350-466BB0658E91}" dt="2024-10-29T14:07:36.546" v="584" actId="790"/>
          <ac:spMkLst>
            <pc:docMk/>
            <pc:sldMk cId="3194185217" sldId="5000"/>
            <ac:spMk id="99" creationId="{389D62A2-FE11-DD73-317F-43A87E51B559}"/>
          </ac:spMkLst>
        </pc:spChg>
        <pc:spChg chg="mod">
          <ac:chgData name="Dion3, Alain (SPAC/PSPC) (il-lui / he-him)" userId="b5972ad0-fee1-4393-9fd4-8bc589782ac7" providerId="ADAL" clId="{1AEDF86E-8907-478C-8350-466BB0658E91}" dt="2024-10-29T14:07:36.546" v="584" actId="790"/>
          <ac:spMkLst>
            <pc:docMk/>
            <pc:sldMk cId="3194185217" sldId="5000"/>
            <ac:spMk id="100" creationId="{D91AB6BE-C04A-6C05-113A-8ADF629FDD96}"/>
          </ac:spMkLst>
        </pc:spChg>
        <pc:spChg chg="mod">
          <ac:chgData name="Dion3, Alain (SPAC/PSPC) (il-lui / he-him)" userId="b5972ad0-fee1-4393-9fd4-8bc589782ac7" providerId="ADAL" clId="{1AEDF86E-8907-478C-8350-466BB0658E91}" dt="2024-10-29T14:07:36.546" v="584" actId="790"/>
          <ac:spMkLst>
            <pc:docMk/>
            <pc:sldMk cId="3194185217" sldId="5000"/>
            <ac:spMk id="101" creationId="{D19B3D59-CE70-9AAF-5F4D-AD2B21591581}"/>
          </ac:spMkLst>
        </pc:spChg>
        <pc:spChg chg="mod">
          <ac:chgData name="Dion3, Alain (SPAC/PSPC) (il-lui / he-him)" userId="b5972ad0-fee1-4393-9fd4-8bc589782ac7" providerId="ADAL" clId="{1AEDF86E-8907-478C-8350-466BB0658E91}" dt="2024-10-29T14:07:36.546" v="584" actId="790"/>
          <ac:spMkLst>
            <pc:docMk/>
            <pc:sldMk cId="3194185217" sldId="5000"/>
            <ac:spMk id="102" creationId="{5F15206B-AF40-C0D7-43C0-FCBF2BE3D662}"/>
          </ac:spMkLst>
        </pc:spChg>
        <pc:spChg chg="mod">
          <ac:chgData name="Dion3, Alain (SPAC/PSPC) (il-lui / he-him)" userId="b5972ad0-fee1-4393-9fd4-8bc589782ac7" providerId="ADAL" clId="{1AEDF86E-8907-478C-8350-466BB0658E91}" dt="2024-10-29T14:07:36.546" v="584" actId="790"/>
          <ac:spMkLst>
            <pc:docMk/>
            <pc:sldMk cId="3194185217" sldId="5000"/>
            <ac:spMk id="103" creationId="{73BCBDA4-3439-52CC-0AC5-E9A1BA5136E5}"/>
          </ac:spMkLst>
        </pc:spChg>
        <pc:spChg chg="mod">
          <ac:chgData name="Dion3, Alain (SPAC/PSPC) (il-lui / he-him)" userId="b5972ad0-fee1-4393-9fd4-8bc589782ac7" providerId="ADAL" clId="{1AEDF86E-8907-478C-8350-466BB0658E91}" dt="2024-10-29T14:07:36.546" v="584" actId="790"/>
          <ac:spMkLst>
            <pc:docMk/>
            <pc:sldMk cId="3194185217" sldId="5000"/>
            <ac:spMk id="104" creationId="{3F9EB8F3-DA5A-AF9B-C644-37D3658500E5}"/>
          </ac:spMkLst>
        </pc:spChg>
        <pc:spChg chg="mod">
          <ac:chgData name="Dion3, Alain (SPAC/PSPC) (il-lui / he-him)" userId="b5972ad0-fee1-4393-9fd4-8bc589782ac7" providerId="ADAL" clId="{1AEDF86E-8907-478C-8350-466BB0658E91}" dt="2024-10-29T14:07:36.546" v="584" actId="790"/>
          <ac:spMkLst>
            <pc:docMk/>
            <pc:sldMk cId="3194185217" sldId="5000"/>
            <ac:spMk id="105" creationId="{8BF6627A-8472-6A0E-56EB-E1B3F5F10BD3}"/>
          </ac:spMkLst>
        </pc:spChg>
        <pc:spChg chg="mod">
          <ac:chgData name="Dion3, Alain (SPAC/PSPC) (il-lui / he-him)" userId="b5972ad0-fee1-4393-9fd4-8bc589782ac7" providerId="ADAL" clId="{1AEDF86E-8907-478C-8350-466BB0658E91}" dt="2024-10-29T14:07:36.546" v="584" actId="790"/>
          <ac:spMkLst>
            <pc:docMk/>
            <pc:sldMk cId="3194185217" sldId="5000"/>
            <ac:spMk id="106" creationId="{5DD57F77-E0AF-D320-4623-3869B46E9703}"/>
          </ac:spMkLst>
        </pc:spChg>
        <pc:spChg chg="mod">
          <ac:chgData name="Dion3, Alain (SPAC/PSPC) (il-lui / he-him)" userId="b5972ad0-fee1-4393-9fd4-8bc589782ac7" providerId="ADAL" clId="{1AEDF86E-8907-478C-8350-466BB0658E91}" dt="2024-10-29T14:07:36.546" v="584" actId="790"/>
          <ac:spMkLst>
            <pc:docMk/>
            <pc:sldMk cId="3194185217" sldId="5000"/>
            <ac:spMk id="107" creationId="{DDCD925C-ECC0-F97C-9306-C165B8EA96D1}"/>
          </ac:spMkLst>
        </pc:spChg>
        <pc:spChg chg="mod">
          <ac:chgData name="Dion3, Alain (SPAC/PSPC) (il-lui / he-him)" userId="b5972ad0-fee1-4393-9fd4-8bc589782ac7" providerId="ADAL" clId="{1AEDF86E-8907-478C-8350-466BB0658E91}" dt="2024-10-29T14:07:36.546" v="584" actId="790"/>
          <ac:spMkLst>
            <pc:docMk/>
            <pc:sldMk cId="3194185217" sldId="5000"/>
            <ac:spMk id="108" creationId="{0E77B50D-F610-6699-DC7D-37A5BDDBAE68}"/>
          </ac:spMkLst>
        </pc:spChg>
        <pc:spChg chg="mod">
          <ac:chgData name="Dion3, Alain (SPAC/PSPC) (il-lui / he-him)" userId="b5972ad0-fee1-4393-9fd4-8bc589782ac7" providerId="ADAL" clId="{1AEDF86E-8907-478C-8350-466BB0658E91}" dt="2024-10-29T14:07:36.546" v="584" actId="790"/>
          <ac:spMkLst>
            <pc:docMk/>
            <pc:sldMk cId="3194185217" sldId="5000"/>
            <ac:spMk id="109" creationId="{8DC427F7-B6DC-88F8-B838-FFA6C60362CF}"/>
          </ac:spMkLst>
        </pc:spChg>
        <pc:spChg chg="mod">
          <ac:chgData name="Dion3, Alain (SPAC/PSPC) (il-lui / he-him)" userId="b5972ad0-fee1-4393-9fd4-8bc589782ac7" providerId="ADAL" clId="{1AEDF86E-8907-478C-8350-466BB0658E91}" dt="2024-10-29T15:38:11.120" v="858" actId="20577"/>
          <ac:spMkLst>
            <pc:docMk/>
            <pc:sldMk cId="3194185217" sldId="5000"/>
            <ac:spMk id="228" creationId="{2C5C7B4D-E0D3-2A6C-661D-EE6F09B9B0CD}"/>
          </ac:spMkLst>
        </pc:spChg>
        <pc:spChg chg="mod">
          <ac:chgData name="Dion3, Alain (SPAC/PSPC) (il-lui / he-him)" userId="b5972ad0-fee1-4393-9fd4-8bc589782ac7" providerId="ADAL" clId="{1AEDF86E-8907-478C-8350-466BB0658E91}" dt="2024-10-29T14:07:36.546" v="584" actId="790"/>
          <ac:spMkLst>
            <pc:docMk/>
            <pc:sldMk cId="3194185217" sldId="5000"/>
            <ac:spMk id="231" creationId="{6FBD3BC9-B2A2-779B-12B9-885937EE9E25}"/>
          </ac:spMkLst>
        </pc:spChg>
        <pc:spChg chg="mod">
          <ac:chgData name="Dion3, Alain (SPAC/PSPC) (il-lui / he-him)" userId="b5972ad0-fee1-4393-9fd4-8bc589782ac7" providerId="ADAL" clId="{1AEDF86E-8907-478C-8350-466BB0658E91}" dt="2024-10-29T14:07:36.546" v="584" actId="790"/>
          <ac:spMkLst>
            <pc:docMk/>
            <pc:sldMk cId="3194185217" sldId="5000"/>
            <ac:spMk id="232" creationId="{FF065F58-F2EC-0948-DEE7-13DEBE3A1792}"/>
          </ac:spMkLst>
        </pc:spChg>
        <pc:spChg chg="mod">
          <ac:chgData name="Dion3, Alain (SPAC/PSPC) (il-lui / he-him)" userId="b5972ad0-fee1-4393-9fd4-8bc589782ac7" providerId="ADAL" clId="{1AEDF86E-8907-478C-8350-466BB0658E91}" dt="2024-10-29T14:07:36.546" v="584" actId="790"/>
          <ac:spMkLst>
            <pc:docMk/>
            <pc:sldMk cId="3194185217" sldId="5000"/>
            <ac:spMk id="233" creationId="{4DB2FB09-DEBD-AFCE-699F-3C6EF9579BC7}"/>
          </ac:spMkLst>
        </pc:spChg>
        <pc:spChg chg="mod">
          <ac:chgData name="Dion3, Alain (SPAC/PSPC) (il-lui / he-him)" userId="b5972ad0-fee1-4393-9fd4-8bc589782ac7" providerId="ADAL" clId="{1AEDF86E-8907-478C-8350-466BB0658E91}" dt="2024-10-29T14:07:36.546" v="584" actId="790"/>
          <ac:spMkLst>
            <pc:docMk/>
            <pc:sldMk cId="3194185217" sldId="5000"/>
            <ac:spMk id="263" creationId="{D73D1805-F830-5576-8486-46AF09F304F0}"/>
          </ac:spMkLst>
        </pc:spChg>
        <pc:spChg chg="mod">
          <ac:chgData name="Dion3, Alain (SPAC/PSPC) (il-lui / he-him)" userId="b5972ad0-fee1-4393-9fd4-8bc589782ac7" providerId="ADAL" clId="{1AEDF86E-8907-478C-8350-466BB0658E91}" dt="2024-10-29T14:07:36.546" v="584" actId="790"/>
          <ac:spMkLst>
            <pc:docMk/>
            <pc:sldMk cId="3194185217" sldId="5000"/>
            <ac:spMk id="265" creationId="{1A767E50-0F77-BF9A-2448-3A320B5D26AF}"/>
          </ac:spMkLst>
        </pc:spChg>
        <pc:spChg chg="mod">
          <ac:chgData name="Dion3, Alain (SPAC/PSPC) (il-lui / he-him)" userId="b5972ad0-fee1-4393-9fd4-8bc589782ac7" providerId="ADAL" clId="{1AEDF86E-8907-478C-8350-466BB0658E91}" dt="2024-10-29T14:07:36.546" v="584" actId="790"/>
          <ac:spMkLst>
            <pc:docMk/>
            <pc:sldMk cId="3194185217" sldId="5000"/>
            <ac:spMk id="266" creationId="{17AFEB20-076E-A228-3226-D82B48759F71}"/>
          </ac:spMkLst>
        </pc:spChg>
        <pc:spChg chg="mod">
          <ac:chgData name="Dion3, Alain (SPAC/PSPC) (il-lui / he-him)" userId="b5972ad0-fee1-4393-9fd4-8bc589782ac7" providerId="ADAL" clId="{1AEDF86E-8907-478C-8350-466BB0658E91}" dt="2024-10-29T14:07:36.546" v="584" actId="790"/>
          <ac:spMkLst>
            <pc:docMk/>
            <pc:sldMk cId="3194185217" sldId="5000"/>
            <ac:spMk id="268" creationId="{258B65CB-D247-F9E1-EDCA-FEA6F66FE970}"/>
          </ac:spMkLst>
        </pc:spChg>
        <pc:spChg chg="mod">
          <ac:chgData name="Dion3, Alain (SPAC/PSPC) (il-lui / he-him)" userId="b5972ad0-fee1-4393-9fd4-8bc589782ac7" providerId="ADAL" clId="{1AEDF86E-8907-478C-8350-466BB0658E91}" dt="2024-10-29T14:07:36.546" v="584" actId="790"/>
          <ac:spMkLst>
            <pc:docMk/>
            <pc:sldMk cId="3194185217" sldId="5000"/>
            <ac:spMk id="269" creationId="{531B218B-C9A8-F848-9B87-8D658B87F433}"/>
          </ac:spMkLst>
        </pc:spChg>
        <pc:spChg chg="mod">
          <ac:chgData name="Dion3, Alain (SPAC/PSPC) (il-lui / he-him)" userId="b5972ad0-fee1-4393-9fd4-8bc589782ac7" providerId="ADAL" clId="{1AEDF86E-8907-478C-8350-466BB0658E91}" dt="2024-10-29T14:07:36.546" v="584" actId="790"/>
          <ac:spMkLst>
            <pc:docMk/>
            <pc:sldMk cId="3194185217" sldId="5000"/>
            <ac:spMk id="270" creationId="{0BB0B903-0398-1747-E909-63479AA91B94}"/>
          </ac:spMkLst>
        </pc:spChg>
        <pc:spChg chg="mod">
          <ac:chgData name="Dion3, Alain (SPAC/PSPC) (il-lui / he-him)" userId="b5972ad0-fee1-4393-9fd4-8bc589782ac7" providerId="ADAL" clId="{1AEDF86E-8907-478C-8350-466BB0658E91}" dt="2024-10-29T14:07:36.546" v="584" actId="790"/>
          <ac:spMkLst>
            <pc:docMk/>
            <pc:sldMk cId="3194185217" sldId="5000"/>
            <ac:spMk id="271" creationId="{C1E84DF3-872F-A72C-5659-01A7AD938776}"/>
          </ac:spMkLst>
        </pc:spChg>
        <pc:spChg chg="mod">
          <ac:chgData name="Dion3, Alain (SPAC/PSPC) (il-lui / he-him)" userId="b5972ad0-fee1-4393-9fd4-8bc589782ac7" providerId="ADAL" clId="{1AEDF86E-8907-478C-8350-466BB0658E91}" dt="2024-10-29T14:07:36.546" v="584" actId="790"/>
          <ac:spMkLst>
            <pc:docMk/>
            <pc:sldMk cId="3194185217" sldId="5000"/>
            <ac:spMk id="272" creationId="{239C2953-20ED-42D4-85A3-0A74D4A3BA40}"/>
          </ac:spMkLst>
        </pc:spChg>
        <pc:spChg chg="mod">
          <ac:chgData name="Dion3, Alain (SPAC/PSPC) (il-lui / he-him)" userId="b5972ad0-fee1-4393-9fd4-8bc589782ac7" providerId="ADAL" clId="{1AEDF86E-8907-478C-8350-466BB0658E91}" dt="2024-10-29T14:07:36.546" v="584" actId="790"/>
          <ac:spMkLst>
            <pc:docMk/>
            <pc:sldMk cId="3194185217" sldId="5000"/>
            <ac:spMk id="273" creationId="{325B3BC7-41BB-12FE-D668-CB00D156F1F8}"/>
          </ac:spMkLst>
        </pc:spChg>
        <pc:spChg chg="mod">
          <ac:chgData name="Dion3, Alain (SPAC/PSPC) (il-lui / he-him)" userId="b5972ad0-fee1-4393-9fd4-8bc589782ac7" providerId="ADAL" clId="{1AEDF86E-8907-478C-8350-466BB0658E91}" dt="2024-10-29T14:07:36.546" v="584" actId="790"/>
          <ac:spMkLst>
            <pc:docMk/>
            <pc:sldMk cId="3194185217" sldId="5000"/>
            <ac:spMk id="274" creationId="{FD23ED44-65FB-0912-3705-68931A2ECAE1}"/>
          </ac:spMkLst>
        </pc:spChg>
        <pc:spChg chg="mod">
          <ac:chgData name="Dion3, Alain (SPAC/PSPC) (il-lui / he-him)" userId="b5972ad0-fee1-4393-9fd4-8bc589782ac7" providerId="ADAL" clId="{1AEDF86E-8907-478C-8350-466BB0658E91}" dt="2024-10-29T14:07:36.546" v="584" actId="790"/>
          <ac:spMkLst>
            <pc:docMk/>
            <pc:sldMk cId="3194185217" sldId="5000"/>
            <ac:spMk id="275" creationId="{4E8101E7-3FC2-1CFD-0CD0-1F258075DD63}"/>
          </ac:spMkLst>
        </pc:spChg>
        <pc:spChg chg="mod">
          <ac:chgData name="Dion3, Alain (SPAC/PSPC) (il-lui / he-him)" userId="b5972ad0-fee1-4393-9fd4-8bc589782ac7" providerId="ADAL" clId="{1AEDF86E-8907-478C-8350-466BB0658E91}" dt="2024-10-29T14:07:36.546" v="584" actId="790"/>
          <ac:spMkLst>
            <pc:docMk/>
            <pc:sldMk cId="3194185217" sldId="5000"/>
            <ac:spMk id="276" creationId="{BC3DA3B1-43F3-64FD-7B81-6C468CEEDCD1}"/>
          </ac:spMkLst>
        </pc:spChg>
        <pc:spChg chg="mod">
          <ac:chgData name="Dion3, Alain (SPAC/PSPC) (il-lui / he-him)" userId="b5972ad0-fee1-4393-9fd4-8bc589782ac7" providerId="ADAL" clId="{1AEDF86E-8907-478C-8350-466BB0658E91}" dt="2024-10-29T14:07:36.546" v="584" actId="790"/>
          <ac:spMkLst>
            <pc:docMk/>
            <pc:sldMk cId="3194185217" sldId="5000"/>
            <ac:spMk id="277" creationId="{7B97C51C-869D-F58B-42FA-0383319230BA}"/>
          </ac:spMkLst>
        </pc:spChg>
        <pc:spChg chg="mod">
          <ac:chgData name="Dion3, Alain (SPAC/PSPC) (il-lui / he-him)" userId="b5972ad0-fee1-4393-9fd4-8bc589782ac7" providerId="ADAL" clId="{1AEDF86E-8907-478C-8350-466BB0658E91}" dt="2024-10-29T14:07:36.546" v="584" actId="790"/>
          <ac:spMkLst>
            <pc:docMk/>
            <pc:sldMk cId="3194185217" sldId="5000"/>
            <ac:spMk id="278" creationId="{F42202AE-E304-7016-92B5-EF7B1A3B4262}"/>
          </ac:spMkLst>
        </pc:spChg>
        <pc:spChg chg="mod">
          <ac:chgData name="Dion3, Alain (SPAC/PSPC) (il-lui / he-him)" userId="b5972ad0-fee1-4393-9fd4-8bc589782ac7" providerId="ADAL" clId="{1AEDF86E-8907-478C-8350-466BB0658E91}" dt="2024-10-29T14:07:36.546" v="584" actId="790"/>
          <ac:spMkLst>
            <pc:docMk/>
            <pc:sldMk cId="3194185217" sldId="5000"/>
            <ac:spMk id="279" creationId="{73A0909A-ED2B-C87B-7CF6-71EDAD8CFF93}"/>
          </ac:spMkLst>
        </pc:spChg>
        <pc:spChg chg="mod">
          <ac:chgData name="Dion3, Alain (SPAC/PSPC) (il-lui / he-him)" userId="b5972ad0-fee1-4393-9fd4-8bc589782ac7" providerId="ADAL" clId="{1AEDF86E-8907-478C-8350-466BB0658E91}" dt="2024-10-29T14:07:36.546" v="584" actId="790"/>
          <ac:spMkLst>
            <pc:docMk/>
            <pc:sldMk cId="3194185217" sldId="5000"/>
            <ac:spMk id="280" creationId="{7EADF11C-EDAB-EEDF-BA45-B538D967C5FE}"/>
          </ac:spMkLst>
        </pc:spChg>
        <pc:spChg chg="mod">
          <ac:chgData name="Dion3, Alain (SPAC/PSPC) (il-lui / he-him)" userId="b5972ad0-fee1-4393-9fd4-8bc589782ac7" providerId="ADAL" clId="{1AEDF86E-8907-478C-8350-466BB0658E91}" dt="2024-10-29T14:07:36.546" v="584" actId="790"/>
          <ac:spMkLst>
            <pc:docMk/>
            <pc:sldMk cId="3194185217" sldId="5000"/>
            <ac:spMk id="281" creationId="{129B6DB9-4AD5-62E3-9639-5DA217C6F243}"/>
          </ac:spMkLst>
        </pc:spChg>
        <pc:spChg chg="mod">
          <ac:chgData name="Dion3, Alain (SPAC/PSPC) (il-lui / he-him)" userId="b5972ad0-fee1-4393-9fd4-8bc589782ac7" providerId="ADAL" clId="{1AEDF86E-8907-478C-8350-466BB0658E91}" dt="2024-10-29T14:07:36.546" v="584" actId="790"/>
          <ac:spMkLst>
            <pc:docMk/>
            <pc:sldMk cId="3194185217" sldId="5000"/>
            <ac:spMk id="282" creationId="{C06F4A97-7C7F-038E-35B2-2F180B5F2728}"/>
          </ac:spMkLst>
        </pc:spChg>
        <pc:spChg chg="mod">
          <ac:chgData name="Dion3, Alain (SPAC/PSPC) (il-lui / he-him)" userId="b5972ad0-fee1-4393-9fd4-8bc589782ac7" providerId="ADAL" clId="{1AEDF86E-8907-478C-8350-466BB0658E91}" dt="2024-10-29T14:07:36.546" v="584" actId="790"/>
          <ac:spMkLst>
            <pc:docMk/>
            <pc:sldMk cId="3194185217" sldId="5000"/>
            <ac:spMk id="283" creationId="{E49B93A2-878E-9FD3-DB7F-A50CC5A08780}"/>
          </ac:spMkLst>
        </pc:spChg>
        <pc:spChg chg="mod">
          <ac:chgData name="Dion3, Alain (SPAC/PSPC) (il-lui / he-him)" userId="b5972ad0-fee1-4393-9fd4-8bc589782ac7" providerId="ADAL" clId="{1AEDF86E-8907-478C-8350-466BB0658E91}" dt="2024-10-29T14:07:36.546" v="584" actId="790"/>
          <ac:spMkLst>
            <pc:docMk/>
            <pc:sldMk cId="3194185217" sldId="5000"/>
            <ac:spMk id="284" creationId="{E7E32919-A3D2-371F-02E9-51C95F5DD416}"/>
          </ac:spMkLst>
        </pc:spChg>
        <pc:spChg chg="mod">
          <ac:chgData name="Dion3, Alain (SPAC/PSPC) (il-lui / he-him)" userId="b5972ad0-fee1-4393-9fd4-8bc589782ac7" providerId="ADAL" clId="{1AEDF86E-8907-478C-8350-466BB0658E91}" dt="2024-10-29T14:07:36.546" v="584" actId="790"/>
          <ac:spMkLst>
            <pc:docMk/>
            <pc:sldMk cId="3194185217" sldId="5000"/>
            <ac:spMk id="285" creationId="{16404AA8-FF8E-40B6-4022-A3C090A23FA9}"/>
          </ac:spMkLst>
        </pc:spChg>
        <pc:spChg chg="mod">
          <ac:chgData name="Dion3, Alain (SPAC/PSPC) (il-lui / he-him)" userId="b5972ad0-fee1-4393-9fd4-8bc589782ac7" providerId="ADAL" clId="{1AEDF86E-8907-478C-8350-466BB0658E91}" dt="2024-10-29T14:07:36.546" v="584" actId="790"/>
          <ac:spMkLst>
            <pc:docMk/>
            <pc:sldMk cId="3194185217" sldId="5000"/>
            <ac:spMk id="286" creationId="{96729DA1-3915-A587-C4E7-7739DEE662F1}"/>
          </ac:spMkLst>
        </pc:spChg>
        <pc:spChg chg="mod">
          <ac:chgData name="Dion3, Alain (SPAC/PSPC) (il-lui / he-him)" userId="b5972ad0-fee1-4393-9fd4-8bc589782ac7" providerId="ADAL" clId="{1AEDF86E-8907-478C-8350-466BB0658E91}" dt="2024-10-29T14:07:36.546" v="584" actId="790"/>
          <ac:spMkLst>
            <pc:docMk/>
            <pc:sldMk cId="3194185217" sldId="5000"/>
            <ac:spMk id="287" creationId="{A4513DF9-FEE8-B0EE-C49A-16CCE8083760}"/>
          </ac:spMkLst>
        </pc:spChg>
        <pc:spChg chg="mod">
          <ac:chgData name="Dion3, Alain (SPAC/PSPC) (il-lui / he-him)" userId="b5972ad0-fee1-4393-9fd4-8bc589782ac7" providerId="ADAL" clId="{1AEDF86E-8907-478C-8350-466BB0658E91}" dt="2024-10-29T14:07:36.546" v="584" actId="790"/>
          <ac:spMkLst>
            <pc:docMk/>
            <pc:sldMk cId="3194185217" sldId="5000"/>
            <ac:spMk id="288" creationId="{1274EF2F-97C7-FD01-3B52-F78BAA6F44F3}"/>
          </ac:spMkLst>
        </pc:spChg>
        <pc:spChg chg="mod">
          <ac:chgData name="Dion3, Alain (SPAC/PSPC) (il-lui / he-him)" userId="b5972ad0-fee1-4393-9fd4-8bc589782ac7" providerId="ADAL" clId="{1AEDF86E-8907-478C-8350-466BB0658E91}" dt="2024-10-29T14:07:36.546" v="584" actId="790"/>
          <ac:spMkLst>
            <pc:docMk/>
            <pc:sldMk cId="3194185217" sldId="5000"/>
            <ac:spMk id="289" creationId="{4221D947-470C-5A88-4D50-4833A5B70890}"/>
          </ac:spMkLst>
        </pc:spChg>
        <pc:spChg chg="mod">
          <ac:chgData name="Dion3, Alain (SPAC/PSPC) (il-lui / he-him)" userId="b5972ad0-fee1-4393-9fd4-8bc589782ac7" providerId="ADAL" clId="{1AEDF86E-8907-478C-8350-466BB0658E91}" dt="2024-10-29T14:07:36.546" v="584" actId="790"/>
          <ac:spMkLst>
            <pc:docMk/>
            <pc:sldMk cId="3194185217" sldId="5000"/>
            <ac:spMk id="290" creationId="{3677BDF7-7497-A3AA-B43C-BDC81649F70B}"/>
          </ac:spMkLst>
        </pc:spChg>
        <pc:spChg chg="mod">
          <ac:chgData name="Dion3, Alain (SPAC/PSPC) (il-lui / he-him)" userId="b5972ad0-fee1-4393-9fd4-8bc589782ac7" providerId="ADAL" clId="{1AEDF86E-8907-478C-8350-466BB0658E91}" dt="2024-10-29T14:07:36.546" v="584" actId="790"/>
          <ac:spMkLst>
            <pc:docMk/>
            <pc:sldMk cId="3194185217" sldId="5000"/>
            <ac:spMk id="291" creationId="{3720CD43-0D89-998D-0225-4FEC2C93EA5E}"/>
          </ac:spMkLst>
        </pc:spChg>
        <pc:spChg chg="mod">
          <ac:chgData name="Dion3, Alain (SPAC/PSPC) (il-lui / he-him)" userId="b5972ad0-fee1-4393-9fd4-8bc589782ac7" providerId="ADAL" clId="{1AEDF86E-8907-478C-8350-466BB0658E91}" dt="2024-10-29T14:07:36.546" v="584" actId="790"/>
          <ac:spMkLst>
            <pc:docMk/>
            <pc:sldMk cId="3194185217" sldId="5000"/>
            <ac:spMk id="292" creationId="{A4F493CE-E510-AF43-0BB4-F73F9E0E5863}"/>
          </ac:spMkLst>
        </pc:spChg>
        <pc:spChg chg="mod">
          <ac:chgData name="Dion3, Alain (SPAC/PSPC) (il-lui / he-him)" userId="b5972ad0-fee1-4393-9fd4-8bc589782ac7" providerId="ADAL" clId="{1AEDF86E-8907-478C-8350-466BB0658E91}" dt="2024-10-29T14:07:36.546" v="584" actId="790"/>
          <ac:spMkLst>
            <pc:docMk/>
            <pc:sldMk cId="3194185217" sldId="5000"/>
            <ac:spMk id="293" creationId="{A036B082-257B-D590-20A8-A38E4C380989}"/>
          </ac:spMkLst>
        </pc:spChg>
        <pc:spChg chg="mod">
          <ac:chgData name="Dion3, Alain (SPAC/PSPC) (il-lui / he-him)" userId="b5972ad0-fee1-4393-9fd4-8bc589782ac7" providerId="ADAL" clId="{1AEDF86E-8907-478C-8350-466BB0658E91}" dt="2024-10-29T14:07:36.546" v="584" actId="790"/>
          <ac:spMkLst>
            <pc:docMk/>
            <pc:sldMk cId="3194185217" sldId="5000"/>
            <ac:spMk id="294" creationId="{AD1B518F-B0B9-84B8-C30B-01BABACDC3D1}"/>
          </ac:spMkLst>
        </pc:spChg>
        <pc:spChg chg="mod">
          <ac:chgData name="Dion3, Alain (SPAC/PSPC) (il-lui / he-him)" userId="b5972ad0-fee1-4393-9fd4-8bc589782ac7" providerId="ADAL" clId="{1AEDF86E-8907-478C-8350-466BB0658E91}" dt="2024-10-29T14:07:36.546" v="584" actId="790"/>
          <ac:spMkLst>
            <pc:docMk/>
            <pc:sldMk cId="3194185217" sldId="5000"/>
            <ac:spMk id="295" creationId="{EB68446C-945A-6ADF-3CE9-D30D879C6230}"/>
          </ac:spMkLst>
        </pc:spChg>
        <pc:spChg chg="mod">
          <ac:chgData name="Dion3, Alain (SPAC/PSPC) (il-lui / he-him)" userId="b5972ad0-fee1-4393-9fd4-8bc589782ac7" providerId="ADAL" clId="{1AEDF86E-8907-478C-8350-466BB0658E91}" dt="2024-10-29T14:07:36.546" v="584" actId="790"/>
          <ac:spMkLst>
            <pc:docMk/>
            <pc:sldMk cId="3194185217" sldId="5000"/>
            <ac:spMk id="296" creationId="{2492619A-C3B3-556D-BB47-861CDACA10FB}"/>
          </ac:spMkLst>
        </pc:spChg>
        <pc:spChg chg="mod">
          <ac:chgData name="Dion3, Alain (SPAC/PSPC) (il-lui / he-him)" userId="b5972ad0-fee1-4393-9fd4-8bc589782ac7" providerId="ADAL" clId="{1AEDF86E-8907-478C-8350-466BB0658E91}" dt="2024-10-29T14:07:36.546" v="584" actId="790"/>
          <ac:spMkLst>
            <pc:docMk/>
            <pc:sldMk cId="3194185217" sldId="5000"/>
            <ac:spMk id="297" creationId="{C30C9C55-3D44-2CD4-FCA1-D74BADC6B2E4}"/>
          </ac:spMkLst>
        </pc:spChg>
        <pc:spChg chg="mod">
          <ac:chgData name="Dion3, Alain (SPAC/PSPC) (il-lui / he-him)" userId="b5972ad0-fee1-4393-9fd4-8bc589782ac7" providerId="ADAL" clId="{1AEDF86E-8907-478C-8350-466BB0658E91}" dt="2024-10-29T14:07:36.546" v="584" actId="790"/>
          <ac:spMkLst>
            <pc:docMk/>
            <pc:sldMk cId="3194185217" sldId="5000"/>
            <ac:spMk id="298" creationId="{49C95C00-4B7F-CA58-5AF2-082B42759803}"/>
          </ac:spMkLst>
        </pc:spChg>
        <pc:spChg chg="mod">
          <ac:chgData name="Dion3, Alain (SPAC/PSPC) (il-lui / he-him)" userId="b5972ad0-fee1-4393-9fd4-8bc589782ac7" providerId="ADAL" clId="{1AEDF86E-8907-478C-8350-466BB0658E91}" dt="2024-10-29T14:07:36.546" v="584" actId="790"/>
          <ac:spMkLst>
            <pc:docMk/>
            <pc:sldMk cId="3194185217" sldId="5000"/>
            <ac:spMk id="299" creationId="{DDA29F15-71FD-4003-42A2-886ED3F2FFDA}"/>
          </ac:spMkLst>
        </pc:spChg>
        <pc:spChg chg="mod">
          <ac:chgData name="Dion3, Alain (SPAC/PSPC) (il-lui / he-him)" userId="b5972ad0-fee1-4393-9fd4-8bc589782ac7" providerId="ADAL" clId="{1AEDF86E-8907-478C-8350-466BB0658E91}" dt="2024-10-29T14:07:36.546" v="584" actId="790"/>
          <ac:spMkLst>
            <pc:docMk/>
            <pc:sldMk cId="3194185217" sldId="5000"/>
            <ac:spMk id="300" creationId="{3B5E7367-27BE-841E-BFF6-2EE465A8DDB3}"/>
          </ac:spMkLst>
        </pc:spChg>
        <pc:spChg chg="mod">
          <ac:chgData name="Dion3, Alain (SPAC/PSPC) (il-lui / he-him)" userId="b5972ad0-fee1-4393-9fd4-8bc589782ac7" providerId="ADAL" clId="{1AEDF86E-8907-478C-8350-466BB0658E91}" dt="2024-10-29T14:07:36.546" v="584" actId="790"/>
          <ac:spMkLst>
            <pc:docMk/>
            <pc:sldMk cId="3194185217" sldId="5000"/>
            <ac:spMk id="301" creationId="{54917BA4-35E9-EC20-1F6B-90754EFA42FF}"/>
          </ac:spMkLst>
        </pc:spChg>
        <pc:spChg chg="mod">
          <ac:chgData name="Dion3, Alain (SPAC/PSPC) (il-lui / he-him)" userId="b5972ad0-fee1-4393-9fd4-8bc589782ac7" providerId="ADAL" clId="{1AEDF86E-8907-478C-8350-466BB0658E91}" dt="2024-10-29T14:07:36.546" v="584" actId="790"/>
          <ac:spMkLst>
            <pc:docMk/>
            <pc:sldMk cId="3194185217" sldId="5000"/>
            <ac:spMk id="302" creationId="{C3416265-BDEF-8331-B39A-01D86E0CB5C6}"/>
          </ac:spMkLst>
        </pc:spChg>
        <pc:spChg chg="mod">
          <ac:chgData name="Dion3, Alain (SPAC/PSPC) (il-lui / he-him)" userId="b5972ad0-fee1-4393-9fd4-8bc589782ac7" providerId="ADAL" clId="{1AEDF86E-8907-478C-8350-466BB0658E91}" dt="2024-10-29T14:07:36.546" v="584" actId="790"/>
          <ac:spMkLst>
            <pc:docMk/>
            <pc:sldMk cId="3194185217" sldId="5000"/>
            <ac:spMk id="303" creationId="{5C1649E8-3E17-F69A-9C9D-06491250E0B4}"/>
          </ac:spMkLst>
        </pc:spChg>
        <pc:spChg chg="mod">
          <ac:chgData name="Dion3, Alain (SPAC/PSPC) (il-lui / he-him)" userId="b5972ad0-fee1-4393-9fd4-8bc589782ac7" providerId="ADAL" clId="{1AEDF86E-8907-478C-8350-466BB0658E91}" dt="2024-10-29T14:07:36.546" v="584" actId="790"/>
          <ac:spMkLst>
            <pc:docMk/>
            <pc:sldMk cId="3194185217" sldId="5000"/>
            <ac:spMk id="304" creationId="{8FF39E85-EA61-3AF9-E36F-A2A41D7C536F}"/>
          </ac:spMkLst>
        </pc:spChg>
        <pc:spChg chg="mod">
          <ac:chgData name="Dion3, Alain (SPAC/PSPC) (il-lui / he-him)" userId="b5972ad0-fee1-4393-9fd4-8bc589782ac7" providerId="ADAL" clId="{1AEDF86E-8907-478C-8350-466BB0658E91}" dt="2024-10-29T14:07:36.546" v="584" actId="790"/>
          <ac:spMkLst>
            <pc:docMk/>
            <pc:sldMk cId="3194185217" sldId="5000"/>
            <ac:spMk id="305" creationId="{FEFE2669-FC11-1E25-1660-19113C3702FD}"/>
          </ac:spMkLst>
        </pc:spChg>
        <pc:spChg chg="mod">
          <ac:chgData name="Dion3, Alain (SPAC/PSPC) (il-lui / he-him)" userId="b5972ad0-fee1-4393-9fd4-8bc589782ac7" providerId="ADAL" clId="{1AEDF86E-8907-478C-8350-466BB0658E91}" dt="2024-10-29T14:07:36.546" v="584" actId="790"/>
          <ac:spMkLst>
            <pc:docMk/>
            <pc:sldMk cId="3194185217" sldId="5000"/>
            <ac:spMk id="306" creationId="{7FC99DFE-CB17-B304-2692-3FD0448BAB43}"/>
          </ac:spMkLst>
        </pc:spChg>
        <pc:spChg chg="mod">
          <ac:chgData name="Dion3, Alain (SPAC/PSPC) (il-lui / he-him)" userId="b5972ad0-fee1-4393-9fd4-8bc589782ac7" providerId="ADAL" clId="{1AEDF86E-8907-478C-8350-466BB0658E91}" dt="2024-10-29T14:07:36.546" v="584" actId="790"/>
          <ac:spMkLst>
            <pc:docMk/>
            <pc:sldMk cId="3194185217" sldId="5000"/>
            <ac:spMk id="307" creationId="{0F034014-6239-3A54-2E9F-862927701543}"/>
          </ac:spMkLst>
        </pc:spChg>
        <pc:spChg chg="mod">
          <ac:chgData name="Dion3, Alain (SPAC/PSPC) (il-lui / he-him)" userId="b5972ad0-fee1-4393-9fd4-8bc589782ac7" providerId="ADAL" clId="{1AEDF86E-8907-478C-8350-466BB0658E91}" dt="2024-10-29T14:07:36.546" v="584" actId="790"/>
          <ac:spMkLst>
            <pc:docMk/>
            <pc:sldMk cId="3194185217" sldId="5000"/>
            <ac:spMk id="308" creationId="{1D4B8F6B-145B-6B0E-22E7-C36922CADBED}"/>
          </ac:spMkLst>
        </pc:spChg>
        <pc:spChg chg="mod">
          <ac:chgData name="Dion3, Alain (SPAC/PSPC) (il-lui / he-him)" userId="b5972ad0-fee1-4393-9fd4-8bc589782ac7" providerId="ADAL" clId="{1AEDF86E-8907-478C-8350-466BB0658E91}" dt="2024-10-29T14:07:36.546" v="584" actId="790"/>
          <ac:spMkLst>
            <pc:docMk/>
            <pc:sldMk cId="3194185217" sldId="5000"/>
            <ac:spMk id="309" creationId="{8236CE7B-D61F-E26F-7401-452B27D8DC31}"/>
          </ac:spMkLst>
        </pc:spChg>
        <pc:spChg chg="mod">
          <ac:chgData name="Dion3, Alain (SPAC/PSPC) (il-lui / he-him)" userId="b5972ad0-fee1-4393-9fd4-8bc589782ac7" providerId="ADAL" clId="{1AEDF86E-8907-478C-8350-466BB0658E91}" dt="2024-10-29T14:07:36.546" v="584" actId="790"/>
          <ac:spMkLst>
            <pc:docMk/>
            <pc:sldMk cId="3194185217" sldId="5000"/>
            <ac:spMk id="310" creationId="{66D5FCE9-5B03-0A50-3AA2-ACC0414A949C}"/>
          </ac:spMkLst>
        </pc:spChg>
        <pc:spChg chg="mod replST">
          <ac:chgData name="Dion3, Alain (SPAC/PSPC) (il-lui / he-him)" userId="b5972ad0-fee1-4393-9fd4-8bc589782ac7" providerId="ADAL" clId="{1AEDF86E-8907-478C-8350-466BB0658E91}" dt="2024-10-29T17:02:09.335" v="1511" actId="20577"/>
          <ac:spMkLst>
            <pc:docMk/>
            <pc:sldMk cId="3194185217" sldId="5000"/>
            <ac:spMk id="311" creationId="{7F17BAD9-B2D7-AE7A-CCDA-9D497073F97B}"/>
          </ac:spMkLst>
        </pc:spChg>
        <pc:grpChg chg="replST">
          <ac:chgData name="Dion3, Alain (SPAC/PSPC) (il-lui / he-him)" userId="b5972ad0-fee1-4393-9fd4-8bc589782ac7" providerId="ADAL" clId="{1AEDF86E-8907-478C-8350-466BB0658E91}" dt="2024-10-29T12:54:36.725" v="210"/>
          <ac:grpSpMkLst>
            <pc:docMk/>
            <pc:sldMk cId="3194185217" sldId="5000"/>
            <ac:grpSpMk id="3" creationId="{EAFCA7DA-B3A3-40D1-F2DD-88BF94C0FDEE}"/>
          </ac:grpSpMkLst>
        </pc:grpChg>
        <pc:grpChg chg="replST">
          <ac:chgData name="Dion3, Alain (SPAC/PSPC) (il-lui / he-him)" userId="b5972ad0-fee1-4393-9fd4-8bc589782ac7" providerId="ADAL" clId="{1AEDF86E-8907-478C-8350-466BB0658E91}" dt="2024-10-29T12:54:36.731" v="211"/>
          <ac:grpSpMkLst>
            <pc:docMk/>
            <pc:sldMk cId="3194185217" sldId="5000"/>
            <ac:grpSpMk id="227" creationId="{CD4E07AF-5600-82A3-E8AC-221858721018}"/>
          </ac:grpSpMkLst>
        </pc:grpChg>
      </pc:sldChg>
      <pc:sldChg chg="modSp mod">
        <pc:chgData name="Dion3, Alain (SPAC/PSPC) (il-lui / he-him)" userId="b5972ad0-fee1-4393-9fd4-8bc589782ac7" providerId="ADAL" clId="{1AEDF86E-8907-478C-8350-466BB0658E91}" dt="2024-10-29T17:07:25.088" v="1739" actId="20577"/>
        <pc:sldMkLst>
          <pc:docMk/>
          <pc:sldMk cId="1053501532" sldId="5012"/>
        </pc:sldMkLst>
        <pc:spChg chg="mod replST">
          <ac:chgData name="Dion3, Alain (SPAC/PSPC) (il-lui / he-him)" userId="b5972ad0-fee1-4393-9fd4-8bc589782ac7" providerId="ADAL" clId="{1AEDF86E-8907-478C-8350-466BB0658E91}" dt="2024-10-29T17:07:25.088" v="1739" actId="20577"/>
          <ac:spMkLst>
            <pc:docMk/>
            <pc:sldMk cId="1053501532" sldId="5012"/>
            <ac:spMk id="3" creationId="{F1C3E258-F619-5F69-B737-122EB008B65B}"/>
          </ac:spMkLst>
        </pc:spChg>
        <pc:spChg chg="mod replST">
          <ac:chgData name="Dion3, Alain (SPAC/PSPC) (il-lui / he-him)" userId="b5972ad0-fee1-4393-9fd4-8bc589782ac7" providerId="ADAL" clId="{1AEDF86E-8907-478C-8350-466BB0658E91}" dt="2024-10-29T17:04:59.700" v="1607" actId="790"/>
          <ac:spMkLst>
            <pc:docMk/>
            <pc:sldMk cId="1053501532" sldId="5012"/>
            <ac:spMk id="5" creationId="{EA7F99B2-4BB8-F561-E89D-85B8AF383FB1}"/>
          </ac:spMkLst>
        </pc:spChg>
        <pc:picChg chg="replST">
          <ac:chgData name="Dion3, Alain (SPAC/PSPC) (il-lui / he-him)" userId="b5972ad0-fee1-4393-9fd4-8bc589782ac7" providerId="ADAL" clId="{1AEDF86E-8907-478C-8350-466BB0658E91}" dt="2024-10-29T12:54:37.307" v="297"/>
          <ac:picMkLst>
            <pc:docMk/>
            <pc:sldMk cId="1053501532" sldId="5012"/>
            <ac:picMk id="10" creationId="{2A6766A1-29EE-86F2-24DD-4E788C4A322F}"/>
          </ac:picMkLst>
        </pc:picChg>
      </pc:sldChg>
      <pc:sldChg chg="modSp mod">
        <pc:chgData name="Dion3, Alain (SPAC/PSPC) (il-lui / he-him)" userId="b5972ad0-fee1-4393-9fd4-8bc589782ac7" providerId="ADAL" clId="{1AEDF86E-8907-478C-8350-466BB0658E91}" dt="2024-10-29T12:54:36.747" v="213"/>
        <pc:sldMkLst>
          <pc:docMk/>
          <pc:sldMk cId="223308526" sldId="5013"/>
        </pc:sldMkLst>
        <pc:spChg chg="replST">
          <ac:chgData name="Dion3, Alain (SPAC/PSPC) (il-lui / he-him)" userId="b5972ad0-fee1-4393-9fd4-8bc589782ac7" providerId="ADAL" clId="{1AEDF86E-8907-478C-8350-466BB0658E91}" dt="2024-10-29T12:54:36.747" v="213"/>
          <ac:spMkLst>
            <pc:docMk/>
            <pc:sldMk cId="223308526" sldId="5013"/>
            <ac:spMk id="2" creationId="{9DE119AA-C27C-1F93-8533-D6E1F56A43A8}"/>
          </ac:spMkLst>
        </pc:spChg>
      </pc:sldChg>
      <pc:sldChg chg="modSp mod">
        <pc:chgData name="Dion3, Alain (SPAC/PSPC) (il-lui / he-him)" userId="b5972ad0-fee1-4393-9fd4-8bc589782ac7" providerId="ADAL" clId="{1AEDF86E-8907-478C-8350-466BB0658E91}" dt="2024-10-29T17:02:47.884" v="1538" actId="20577"/>
        <pc:sldMkLst>
          <pc:docMk/>
          <pc:sldMk cId="2648589367" sldId="5014"/>
        </pc:sldMkLst>
        <pc:spChg chg="mod">
          <ac:chgData name="Dion3, Alain (SPAC/PSPC) (il-lui / he-him)" userId="b5972ad0-fee1-4393-9fd4-8bc589782ac7" providerId="ADAL" clId="{1AEDF86E-8907-478C-8350-466BB0658E91}" dt="2024-10-29T15:59:27.908" v="1453" actId="790"/>
          <ac:spMkLst>
            <pc:docMk/>
            <pc:sldMk cId="2648589367" sldId="5014"/>
            <ac:spMk id="2" creationId="{C301AA33-6A30-AB3E-C776-0E493CEF5F2A}"/>
          </ac:spMkLst>
        </pc:spChg>
        <pc:spChg chg="mod replST">
          <ac:chgData name="Dion3, Alain (SPAC/PSPC) (il-lui / he-him)" userId="b5972ad0-fee1-4393-9fd4-8bc589782ac7" providerId="ADAL" clId="{1AEDF86E-8907-478C-8350-466BB0658E91}" dt="2024-10-29T17:02:47.884" v="1538" actId="20577"/>
          <ac:spMkLst>
            <pc:docMk/>
            <pc:sldMk cId="2648589367" sldId="5014"/>
            <ac:spMk id="3" creationId="{DE69AC7C-2B0D-CF31-48EE-53792B4D724E}"/>
          </ac:spMkLst>
        </pc:spChg>
        <pc:spChg chg="mod replST">
          <ac:chgData name="Dion3, Alain (SPAC/PSPC) (il-lui / he-him)" userId="b5972ad0-fee1-4393-9fd4-8bc589782ac7" providerId="ADAL" clId="{1AEDF86E-8907-478C-8350-466BB0658E91}" dt="2024-10-29T15:59:27.908" v="1453" actId="790"/>
          <ac:spMkLst>
            <pc:docMk/>
            <pc:sldMk cId="2648589367" sldId="5014"/>
            <ac:spMk id="5" creationId="{A25F31FD-D91B-2F1F-48B5-8229C5FFF47F}"/>
          </ac:spMkLst>
        </pc:spChg>
        <pc:spChg chg="mod">
          <ac:chgData name="Dion3, Alain (SPAC/PSPC) (il-lui / he-him)" userId="b5972ad0-fee1-4393-9fd4-8bc589782ac7" providerId="ADAL" clId="{1AEDF86E-8907-478C-8350-466BB0658E91}" dt="2024-10-29T15:59:27.908" v="1453" actId="790"/>
          <ac:spMkLst>
            <pc:docMk/>
            <pc:sldMk cId="2648589367" sldId="5014"/>
            <ac:spMk id="6" creationId="{7D752629-BEEA-E8C2-10E0-EF6C6D24C9FA}"/>
          </ac:spMkLst>
        </pc:spChg>
        <pc:spChg chg="mod">
          <ac:chgData name="Dion3, Alain (SPAC/PSPC) (il-lui / he-him)" userId="b5972ad0-fee1-4393-9fd4-8bc589782ac7" providerId="ADAL" clId="{1AEDF86E-8907-478C-8350-466BB0658E91}" dt="2024-10-29T15:59:27.908" v="1453" actId="790"/>
          <ac:spMkLst>
            <pc:docMk/>
            <pc:sldMk cId="2648589367" sldId="5014"/>
            <ac:spMk id="7" creationId="{EE7E1DAB-29FF-5B67-85B4-4984C180F89E}"/>
          </ac:spMkLst>
        </pc:spChg>
        <pc:spChg chg="mod">
          <ac:chgData name="Dion3, Alain (SPAC/PSPC) (il-lui / he-him)" userId="b5972ad0-fee1-4393-9fd4-8bc589782ac7" providerId="ADAL" clId="{1AEDF86E-8907-478C-8350-466BB0658E91}" dt="2024-10-29T15:59:27.908" v="1453" actId="790"/>
          <ac:spMkLst>
            <pc:docMk/>
            <pc:sldMk cId="2648589367" sldId="5014"/>
            <ac:spMk id="15" creationId="{EB612081-FCA4-47D6-A1C2-5B0B85CCB872}"/>
          </ac:spMkLst>
        </pc:spChg>
        <pc:grpChg chg="replST">
          <ac:chgData name="Dion3, Alain (SPAC/PSPC) (il-lui / he-him)" userId="b5972ad0-fee1-4393-9fd4-8bc589782ac7" providerId="ADAL" clId="{1AEDF86E-8907-478C-8350-466BB0658E91}" dt="2024-10-29T12:54:37.271" v="291"/>
          <ac:grpSpMkLst>
            <pc:docMk/>
            <pc:sldMk cId="2648589367" sldId="5014"/>
            <ac:grpSpMk id="18" creationId="{5BB48D31-9A38-0DD7-71BA-6923707ED727}"/>
          </ac:grpSpMkLst>
        </pc:grpChg>
      </pc:sldChg>
      <pc:sldChg chg="modSp mod">
        <pc:chgData name="Dion3, Alain (SPAC/PSPC) (il-lui / he-him)" userId="b5972ad0-fee1-4393-9fd4-8bc589782ac7" providerId="ADAL" clId="{1AEDF86E-8907-478C-8350-466BB0658E91}" dt="2024-10-29T15:57:59.862" v="1424" actId="20577"/>
        <pc:sldMkLst>
          <pc:docMk/>
          <pc:sldMk cId="1008670027" sldId="5016"/>
        </pc:sldMkLst>
        <pc:spChg chg="replST">
          <ac:chgData name="Dion3, Alain (SPAC/PSPC) (il-lui / he-him)" userId="b5972ad0-fee1-4393-9fd4-8bc589782ac7" providerId="ADAL" clId="{1AEDF86E-8907-478C-8350-466BB0658E91}" dt="2024-10-29T12:54:36.669" v="204"/>
          <ac:spMkLst>
            <pc:docMk/>
            <pc:sldMk cId="1008670027" sldId="5016"/>
            <ac:spMk id="2" creationId="{459AFBF6-A3FE-12ED-8681-E058ECB7745D}"/>
          </ac:spMkLst>
        </pc:spChg>
        <pc:spChg chg="mod replST">
          <ac:chgData name="Dion3, Alain (SPAC/PSPC) (il-lui / he-him)" userId="b5972ad0-fee1-4393-9fd4-8bc589782ac7" providerId="ADAL" clId="{1AEDF86E-8907-478C-8350-466BB0658E91}" dt="2024-10-29T15:57:59.862" v="1424" actId="20577"/>
          <ac:spMkLst>
            <pc:docMk/>
            <pc:sldMk cId="1008670027" sldId="5016"/>
            <ac:spMk id="3" creationId="{CC8B02F3-0C27-03C9-5D56-EC07236B6660}"/>
          </ac:spMkLst>
        </pc:spChg>
      </pc:sldChg>
      <pc:sldChg chg="modSp mod">
        <pc:chgData name="Dion3, Alain (SPAC/PSPC) (il-lui / he-him)" userId="b5972ad0-fee1-4393-9fd4-8bc589782ac7" providerId="ADAL" clId="{1AEDF86E-8907-478C-8350-466BB0658E91}" dt="2024-10-29T13:12:44.522" v="424" actId="790"/>
        <pc:sldMkLst>
          <pc:docMk/>
          <pc:sldMk cId="492946276" sldId="5017"/>
        </pc:sldMkLst>
        <pc:spChg chg="mod replST">
          <ac:chgData name="Dion3, Alain (SPAC/PSPC) (il-lui / he-him)" userId="b5972ad0-fee1-4393-9fd4-8bc589782ac7" providerId="ADAL" clId="{1AEDF86E-8907-478C-8350-466BB0658E91}" dt="2024-10-29T13:12:44.522" v="424" actId="790"/>
          <ac:spMkLst>
            <pc:docMk/>
            <pc:sldMk cId="492946276" sldId="5017"/>
            <ac:spMk id="2" creationId="{FDF95B0C-A822-FC5E-C664-E6B1A5DC7F01}"/>
          </ac:spMkLst>
        </pc:spChg>
      </pc:sldChg>
      <pc:sldChg chg="modSp mod">
        <pc:chgData name="Dion3, Alain (SPAC/PSPC) (il-lui / he-him)" userId="b5972ad0-fee1-4393-9fd4-8bc589782ac7" providerId="ADAL" clId="{1AEDF86E-8907-478C-8350-466BB0658E91}" dt="2024-10-29T15:49:59.508" v="1172" actId="1076"/>
        <pc:sldMkLst>
          <pc:docMk/>
          <pc:sldMk cId="3865673805" sldId="5018"/>
        </pc:sldMkLst>
        <pc:spChg chg="mod replST">
          <ac:chgData name="Dion3, Alain (SPAC/PSPC) (il-lui / he-him)" userId="b5972ad0-fee1-4393-9fd4-8bc589782ac7" providerId="ADAL" clId="{1AEDF86E-8907-478C-8350-466BB0658E91}" dt="2024-10-29T15:44:40.328" v="986" actId="790"/>
          <ac:spMkLst>
            <pc:docMk/>
            <pc:sldMk cId="3865673805" sldId="5018"/>
            <ac:spMk id="3" creationId="{13DCD74A-6998-F023-D695-DD9F937CE93F}"/>
          </ac:spMkLst>
        </pc:spChg>
        <pc:spChg chg="mod replST">
          <ac:chgData name="Dion3, Alain (SPAC/PSPC) (il-lui / he-him)" userId="b5972ad0-fee1-4393-9fd4-8bc589782ac7" providerId="ADAL" clId="{1AEDF86E-8907-478C-8350-466BB0658E91}" dt="2024-10-29T15:44:40.328" v="986" actId="790"/>
          <ac:spMkLst>
            <pc:docMk/>
            <pc:sldMk cId="3865673805" sldId="5018"/>
            <ac:spMk id="4" creationId="{5CFF1F66-C9F8-5499-40CC-51C8B8764C38}"/>
          </ac:spMkLst>
        </pc:spChg>
        <pc:spChg chg="mod replST">
          <ac:chgData name="Dion3, Alain (SPAC/PSPC) (il-lui / he-him)" userId="b5972ad0-fee1-4393-9fd4-8bc589782ac7" providerId="ADAL" clId="{1AEDF86E-8907-478C-8350-466BB0658E91}" dt="2024-10-29T15:44:40.328" v="986" actId="790"/>
          <ac:spMkLst>
            <pc:docMk/>
            <pc:sldMk cId="3865673805" sldId="5018"/>
            <ac:spMk id="5" creationId="{252009ED-9673-DE27-8712-DE8DAD6E21E0}"/>
          </ac:spMkLst>
        </pc:spChg>
        <pc:spChg chg="mod replST">
          <ac:chgData name="Dion3, Alain (SPAC/PSPC) (il-lui / he-him)" userId="b5972ad0-fee1-4393-9fd4-8bc589782ac7" providerId="ADAL" clId="{1AEDF86E-8907-478C-8350-466BB0658E91}" dt="2024-10-29T15:44:40.328" v="986" actId="790"/>
          <ac:spMkLst>
            <pc:docMk/>
            <pc:sldMk cId="3865673805" sldId="5018"/>
            <ac:spMk id="6" creationId="{E26D1384-8E76-9A8B-B475-DE870612B95D}"/>
          </ac:spMkLst>
        </pc:spChg>
        <pc:spChg chg="mod replST">
          <ac:chgData name="Dion3, Alain (SPAC/PSPC) (il-lui / he-him)" userId="b5972ad0-fee1-4393-9fd4-8bc589782ac7" providerId="ADAL" clId="{1AEDF86E-8907-478C-8350-466BB0658E91}" dt="2024-10-29T15:44:40.328" v="986" actId="790"/>
          <ac:spMkLst>
            <pc:docMk/>
            <pc:sldMk cId="3865673805" sldId="5018"/>
            <ac:spMk id="8" creationId="{23E99F4F-F3B2-6B21-75A4-29202AF2EDAE}"/>
          </ac:spMkLst>
        </pc:spChg>
        <pc:spChg chg="mod replST">
          <ac:chgData name="Dion3, Alain (SPAC/PSPC) (il-lui / he-him)" userId="b5972ad0-fee1-4393-9fd4-8bc589782ac7" providerId="ADAL" clId="{1AEDF86E-8907-478C-8350-466BB0658E91}" dt="2024-10-29T15:44:40.328" v="986" actId="790"/>
          <ac:spMkLst>
            <pc:docMk/>
            <pc:sldMk cId="3865673805" sldId="5018"/>
            <ac:spMk id="9" creationId="{0F0AB770-5A31-5D88-5DC8-C9BAB7804201}"/>
          </ac:spMkLst>
        </pc:spChg>
        <pc:spChg chg="mod replST">
          <ac:chgData name="Dion3, Alain (SPAC/PSPC) (il-lui / he-him)" userId="b5972ad0-fee1-4393-9fd4-8bc589782ac7" providerId="ADAL" clId="{1AEDF86E-8907-478C-8350-466BB0658E91}" dt="2024-10-29T15:44:40.328" v="986" actId="790"/>
          <ac:spMkLst>
            <pc:docMk/>
            <pc:sldMk cId="3865673805" sldId="5018"/>
            <ac:spMk id="10" creationId="{E49B5449-959A-7DA6-0EA2-232C2BB62871}"/>
          </ac:spMkLst>
        </pc:spChg>
        <pc:spChg chg="mod replST">
          <ac:chgData name="Dion3, Alain (SPAC/PSPC) (il-lui / he-him)" userId="b5972ad0-fee1-4393-9fd4-8bc589782ac7" providerId="ADAL" clId="{1AEDF86E-8907-478C-8350-466BB0658E91}" dt="2024-10-29T15:44:40.328" v="986" actId="790"/>
          <ac:spMkLst>
            <pc:docMk/>
            <pc:sldMk cId="3865673805" sldId="5018"/>
            <ac:spMk id="11" creationId="{4168E461-9019-0256-7847-A59482620E08}"/>
          </ac:spMkLst>
        </pc:spChg>
        <pc:spChg chg="mod replST">
          <ac:chgData name="Dion3, Alain (SPAC/PSPC) (il-lui / he-him)" userId="b5972ad0-fee1-4393-9fd4-8bc589782ac7" providerId="ADAL" clId="{1AEDF86E-8907-478C-8350-466BB0658E91}" dt="2024-10-29T15:44:40.328" v="986" actId="790"/>
          <ac:spMkLst>
            <pc:docMk/>
            <pc:sldMk cId="3865673805" sldId="5018"/>
            <ac:spMk id="12" creationId="{641A1C60-574D-C16D-A641-07C3B4DFAF69}"/>
          </ac:spMkLst>
        </pc:spChg>
        <pc:spChg chg="mod replST">
          <ac:chgData name="Dion3, Alain (SPAC/PSPC) (il-lui / he-him)" userId="b5972ad0-fee1-4393-9fd4-8bc589782ac7" providerId="ADAL" clId="{1AEDF86E-8907-478C-8350-466BB0658E91}" dt="2024-10-29T15:44:40.328" v="986" actId="790"/>
          <ac:spMkLst>
            <pc:docMk/>
            <pc:sldMk cId="3865673805" sldId="5018"/>
            <ac:spMk id="14" creationId="{E8367094-C7DF-CBCF-AF5E-8E4489281A4B}"/>
          </ac:spMkLst>
        </pc:spChg>
        <pc:spChg chg="mod replST">
          <ac:chgData name="Dion3, Alain (SPAC/PSPC) (il-lui / he-him)" userId="b5972ad0-fee1-4393-9fd4-8bc589782ac7" providerId="ADAL" clId="{1AEDF86E-8907-478C-8350-466BB0658E91}" dt="2024-10-29T15:44:40.328" v="986" actId="790"/>
          <ac:spMkLst>
            <pc:docMk/>
            <pc:sldMk cId="3865673805" sldId="5018"/>
            <ac:spMk id="16" creationId="{60A4BDE2-E6E1-BEFA-6545-10F4A9C4B38E}"/>
          </ac:spMkLst>
        </pc:spChg>
        <pc:spChg chg="mod replST">
          <ac:chgData name="Dion3, Alain (SPAC/PSPC) (il-lui / he-him)" userId="b5972ad0-fee1-4393-9fd4-8bc589782ac7" providerId="ADAL" clId="{1AEDF86E-8907-478C-8350-466BB0658E91}" dt="2024-10-29T15:44:40.328" v="986" actId="790"/>
          <ac:spMkLst>
            <pc:docMk/>
            <pc:sldMk cId="3865673805" sldId="5018"/>
            <ac:spMk id="17" creationId="{BE2C8F62-70A2-F29B-59A9-A79C3CD3C98F}"/>
          </ac:spMkLst>
        </pc:spChg>
        <pc:spChg chg="mod replST">
          <ac:chgData name="Dion3, Alain (SPAC/PSPC) (il-lui / he-him)" userId="b5972ad0-fee1-4393-9fd4-8bc589782ac7" providerId="ADAL" clId="{1AEDF86E-8907-478C-8350-466BB0658E91}" dt="2024-10-29T15:44:40.328" v="986" actId="790"/>
          <ac:spMkLst>
            <pc:docMk/>
            <pc:sldMk cId="3865673805" sldId="5018"/>
            <ac:spMk id="19" creationId="{949E1EBB-B5B0-7C59-331C-F95BADD85A45}"/>
          </ac:spMkLst>
        </pc:spChg>
        <pc:spChg chg="mod replST">
          <ac:chgData name="Dion3, Alain (SPAC/PSPC) (il-lui / he-him)" userId="b5972ad0-fee1-4393-9fd4-8bc589782ac7" providerId="ADAL" clId="{1AEDF86E-8907-478C-8350-466BB0658E91}" dt="2024-10-29T15:44:40.328" v="986" actId="790"/>
          <ac:spMkLst>
            <pc:docMk/>
            <pc:sldMk cId="3865673805" sldId="5018"/>
            <ac:spMk id="20" creationId="{B3A81356-6D92-78A8-3DC1-7B7F6043FA67}"/>
          </ac:spMkLst>
        </pc:spChg>
        <pc:spChg chg="mod replST">
          <ac:chgData name="Dion3, Alain (SPAC/PSPC) (il-lui / he-him)" userId="b5972ad0-fee1-4393-9fd4-8bc589782ac7" providerId="ADAL" clId="{1AEDF86E-8907-478C-8350-466BB0658E91}" dt="2024-10-29T15:44:40.328" v="986" actId="790"/>
          <ac:spMkLst>
            <pc:docMk/>
            <pc:sldMk cId="3865673805" sldId="5018"/>
            <ac:spMk id="21" creationId="{8B26B707-9B50-D4B7-CE03-18C890FBEA1E}"/>
          </ac:spMkLst>
        </pc:spChg>
        <pc:spChg chg="mod replST">
          <ac:chgData name="Dion3, Alain (SPAC/PSPC) (il-lui / he-him)" userId="b5972ad0-fee1-4393-9fd4-8bc589782ac7" providerId="ADAL" clId="{1AEDF86E-8907-478C-8350-466BB0658E91}" dt="2024-10-29T15:44:40.328" v="986" actId="790"/>
          <ac:spMkLst>
            <pc:docMk/>
            <pc:sldMk cId="3865673805" sldId="5018"/>
            <ac:spMk id="22" creationId="{153AD99E-969D-CDB0-2F1A-03C010B4CA2F}"/>
          </ac:spMkLst>
        </pc:spChg>
        <pc:spChg chg="mod replST">
          <ac:chgData name="Dion3, Alain (SPAC/PSPC) (il-lui / he-him)" userId="b5972ad0-fee1-4393-9fd4-8bc589782ac7" providerId="ADAL" clId="{1AEDF86E-8907-478C-8350-466BB0658E91}" dt="2024-10-29T15:44:40.328" v="986" actId="790"/>
          <ac:spMkLst>
            <pc:docMk/>
            <pc:sldMk cId="3865673805" sldId="5018"/>
            <ac:spMk id="23" creationId="{5009506C-9AF6-D811-B74A-D0334300F2A4}"/>
          </ac:spMkLst>
        </pc:spChg>
        <pc:spChg chg="mod replST">
          <ac:chgData name="Dion3, Alain (SPAC/PSPC) (il-lui / he-him)" userId="b5972ad0-fee1-4393-9fd4-8bc589782ac7" providerId="ADAL" clId="{1AEDF86E-8907-478C-8350-466BB0658E91}" dt="2024-10-29T15:44:40.328" v="986" actId="790"/>
          <ac:spMkLst>
            <pc:docMk/>
            <pc:sldMk cId="3865673805" sldId="5018"/>
            <ac:spMk id="25" creationId="{BB5B164B-32E5-447E-7986-F11E54636D93}"/>
          </ac:spMkLst>
        </pc:spChg>
        <pc:spChg chg="mod replST">
          <ac:chgData name="Dion3, Alain (SPAC/PSPC) (il-lui / he-him)" userId="b5972ad0-fee1-4393-9fd4-8bc589782ac7" providerId="ADAL" clId="{1AEDF86E-8907-478C-8350-466BB0658E91}" dt="2024-10-29T15:44:40.328" v="986" actId="790"/>
          <ac:spMkLst>
            <pc:docMk/>
            <pc:sldMk cId="3865673805" sldId="5018"/>
            <ac:spMk id="26" creationId="{F54B95CE-09AF-C40B-10E8-38309EBC5D2C}"/>
          </ac:spMkLst>
        </pc:spChg>
        <pc:spChg chg="mod replST">
          <ac:chgData name="Dion3, Alain (SPAC/PSPC) (il-lui / he-him)" userId="b5972ad0-fee1-4393-9fd4-8bc589782ac7" providerId="ADAL" clId="{1AEDF86E-8907-478C-8350-466BB0658E91}" dt="2024-10-29T15:44:40.328" v="986" actId="790"/>
          <ac:spMkLst>
            <pc:docMk/>
            <pc:sldMk cId="3865673805" sldId="5018"/>
            <ac:spMk id="27" creationId="{00CEC2D0-B816-A4AA-98FF-42B3C53A244F}"/>
          </ac:spMkLst>
        </pc:spChg>
        <pc:spChg chg="mod replST">
          <ac:chgData name="Dion3, Alain (SPAC/PSPC) (il-lui / he-him)" userId="b5972ad0-fee1-4393-9fd4-8bc589782ac7" providerId="ADAL" clId="{1AEDF86E-8907-478C-8350-466BB0658E91}" dt="2024-10-29T15:44:40.328" v="986" actId="790"/>
          <ac:spMkLst>
            <pc:docMk/>
            <pc:sldMk cId="3865673805" sldId="5018"/>
            <ac:spMk id="28" creationId="{E24B5A4D-D3D0-4B88-EE19-E2BACA852406}"/>
          </ac:spMkLst>
        </pc:spChg>
        <pc:spChg chg="mod replST">
          <ac:chgData name="Dion3, Alain (SPAC/PSPC) (il-lui / he-him)" userId="b5972ad0-fee1-4393-9fd4-8bc589782ac7" providerId="ADAL" clId="{1AEDF86E-8907-478C-8350-466BB0658E91}" dt="2024-10-29T15:44:40.328" v="986" actId="790"/>
          <ac:spMkLst>
            <pc:docMk/>
            <pc:sldMk cId="3865673805" sldId="5018"/>
            <ac:spMk id="29" creationId="{EDA9D9ED-7A9A-1762-D5B3-9D3978C4998E}"/>
          </ac:spMkLst>
        </pc:spChg>
        <pc:spChg chg="mod replST">
          <ac:chgData name="Dion3, Alain (SPAC/PSPC) (il-lui / he-him)" userId="b5972ad0-fee1-4393-9fd4-8bc589782ac7" providerId="ADAL" clId="{1AEDF86E-8907-478C-8350-466BB0658E91}" dt="2024-10-29T15:44:40.328" v="986" actId="790"/>
          <ac:spMkLst>
            <pc:docMk/>
            <pc:sldMk cId="3865673805" sldId="5018"/>
            <ac:spMk id="31" creationId="{89EC5A0B-8CD2-4D4C-3E71-927F1BFDB370}"/>
          </ac:spMkLst>
        </pc:spChg>
        <pc:spChg chg="mod replST">
          <ac:chgData name="Dion3, Alain (SPAC/PSPC) (il-lui / he-him)" userId="b5972ad0-fee1-4393-9fd4-8bc589782ac7" providerId="ADAL" clId="{1AEDF86E-8907-478C-8350-466BB0658E91}" dt="2024-10-29T15:49:24.489" v="1170" actId="1076"/>
          <ac:spMkLst>
            <pc:docMk/>
            <pc:sldMk cId="3865673805" sldId="5018"/>
            <ac:spMk id="32" creationId="{CA864140-7987-A572-621D-80A839AD187F}"/>
          </ac:spMkLst>
        </pc:spChg>
        <pc:spChg chg="mod replST">
          <ac:chgData name="Dion3, Alain (SPAC/PSPC) (il-lui / he-him)" userId="b5972ad0-fee1-4393-9fd4-8bc589782ac7" providerId="ADAL" clId="{1AEDF86E-8907-478C-8350-466BB0658E91}" dt="2024-10-29T15:44:40.328" v="986" actId="790"/>
          <ac:spMkLst>
            <pc:docMk/>
            <pc:sldMk cId="3865673805" sldId="5018"/>
            <ac:spMk id="34" creationId="{DED31946-3A88-3B27-CAFD-D81126891350}"/>
          </ac:spMkLst>
        </pc:spChg>
        <pc:spChg chg="mod replST">
          <ac:chgData name="Dion3, Alain (SPAC/PSPC) (il-lui / he-him)" userId="b5972ad0-fee1-4393-9fd4-8bc589782ac7" providerId="ADAL" clId="{1AEDF86E-8907-478C-8350-466BB0658E91}" dt="2024-10-29T15:44:40.328" v="986" actId="790"/>
          <ac:spMkLst>
            <pc:docMk/>
            <pc:sldMk cId="3865673805" sldId="5018"/>
            <ac:spMk id="35" creationId="{0AD30AF3-6F71-6556-CAD0-415C4A0ED505}"/>
          </ac:spMkLst>
        </pc:spChg>
        <pc:spChg chg="mod replST">
          <ac:chgData name="Dion3, Alain (SPAC/PSPC) (il-lui / he-him)" userId="b5972ad0-fee1-4393-9fd4-8bc589782ac7" providerId="ADAL" clId="{1AEDF86E-8907-478C-8350-466BB0658E91}" dt="2024-10-29T15:44:40.328" v="986" actId="790"/>
          <ac:spMkLst>
            <pc:docMk/>
            <pc:sldMk cId="3865673805" sldId="5018"/>
            <ac:spMk id="36" creationId="{5C90F134-E0D2-DCDE-ECD6-B419D029FA78}"/>
          </ac:spMkLst>
        </pc:spChg>
        <pc:spChg chg="mod replST">
          <ac:chgData name="Dion3, Alain (SPAC/PSPC) (il-lui / he-him)" userId="b5972ad0-fee1-4393-9fd4-8bc589782ac7" providerId="ADAL" clId="{1AEDF86E-8907-478C-8350-466BB0658E91}" dt="2024-10-29T15:44:40.328" v="986" actId="790"/>
          <ac:spMkLst>
            <pc:docMk/>
            <pc:sldMk cId="3865673805" sldId="5018"/>
            <ac:spMk id="37" creationId="{18901499-BBEF-67D4-3F59-37A24ED0BEED}"/>
          </ac:spMkLst>
        </pc:spChg>
        <pc:spChg chg="mod replST">
          <ac:chgData name="Dion3, Alain (SPAC/PSPC) (il-lui / he-him)" userId="b5972ad0-fee1-4393-9fd4-8bc589782ac7" providerId="ADAL" clId="{1AEDF86E-8907-478C-8350-466BB0658E91}" dt="2024-10-29T15:44:40.328" v="986" actId="790"/>
          <ac:spMkLst>
            <pc:docMk/>
            <pc:sldMk cId="3865673805" sldId="5018"/>
            <ac:spMk id="38" creationId="{C4B3ACDF-F9DE-5445-B161-1597312A56A1}"/>
          </ac:spMkLst>
        </pc:spChg>
        <pc:spChg chg="mod replST">
          <ac:chgData name="Dion3, Alain (SPAC/PSPC) (il-lui / he-him)" userId="b5972ad0-fee1-4393-9fd4-8bc589782ac7" providerId="ADAL" clId="{1AEDF86E-8907-478C-8350-466BB0658E91}" dt="2024-10-29T15:44:40.328" v="986" actId="790"/>
          <ac:spMkLst>
            <pc:docMk/>
            <pc:sldMk cId="3865673805" sldId="5018"/>
            <ac:spMk id="40" creationId="{64D76BAA-855E-6319-281A-AEEFD5B609B2}"/>
          </ac:spMkLst>
        </pc:spChg>
        <pc:spChg chg="mod replST">
          <ac:chgData name="Dion3, Alain (SPAC/PSPC) (il-lui / he-him)" userId="b5972ad0-fee1-4393-9fd4-8bc589782ac7" providerId="ADAL" clId="{1AEDF86E-8907-478C-8350-466BB0658E91}" dt="2024-10-29T15:44:40.328" v="986" actId="790"/>
          <ac:spMkLst>
            <pc:docMk/>
            <pc:sldMk cId="3865673805" sldId="5018"/>
            <ac:spMk id="41" creationId="{D4C84D6D-4280-615B-12A1-87A6343C60F4}"/>
          </ac:spMkLst>
        </pc:spChg>
        <pc:spChg chg="mod replST">
          <ac:chgData name="Dion3, Alain (SPAC/PSPC) (il-lui / he-him)" userId="b5972ad0-fee1-4393-9fd4-8bc589782ac7" providerId="ADAL" clId="{1AEDF86E-8907-478C-8350-466BB0658E91}" dt="2024-10-29T15:44:40.328" v="986" actId="790"/>
          <ac:spMkLst>
            <pc:docMk/>
            <pc:sldMk cId="3865673805" sldId="5018"/>
            <ac:spMk id="47" creationId="{6F061153-9151-0D2F-6C2F-16E75EEC8F0B}"/>
          </ac:spMkLst>
        </pc:spChg>
        <pc:spChg chg="mod replST">
          <ac:chgData name="Dion3, Alain (SPAC/PSPC) (il-lui / he-him)" userId="b5972ad0-fee1-4393-9fd4-8bc589782ac7" providerId="ADAL" clId="{1AEDF86E-8907-478C-8350-466BB0658E91}" dt="2024-10-29T15:44:40.328" v="986" actId="790"/>
          <ac:spMkLst>
            <pc:docMk/>
            <pc:sldMk cId="3865673805" sldId="5018"/>
            <ac:spMk id="48" creationId="{6B16CA0D-CB1F-D6ED-89BE-F6616AE840BF}"/>
          </ac:spMkLst>
        </pc:spChg>
        <pc:spChg chg="mod replST">
          <ac:chgData name="Dion3, Alain (SPAC/PSPC) (il-lui / he-him)" userId="b5972ad0-fee1-4393-9fd4-8bc589782ac7" providerId="ADAL" clId="{1AEDF86E-8907-478C-8350-466BB0658E91}" dt="2024-10-29T15:44:40.328" v="986" actId="790"/>
          <ac:spMkLst>
            <pc:docMk/>
            <pc:sldMk cId="3865673805" sldId="5018"/>
            <ac:spMk id="51" creationId="{F808FB0B-95FB-588D-74D4-560CE24F641C}"/>
          </ac:spMkLst>
        </pc:spChg>
        <pc:spChg chg="mod replST">
          <ac:chgData name="Dion3, Alain (SPAC/PSPC) (il-lui / he-him)" userId="b5972ad0-fee1-4393-9fd4-8bc589782ac7" providerId="ADAL" clId="{1AEDF86E-8907-478C-8350-466BB0658E91}" dt="2024-10-29T15:48:26.473" v="1163" actId="20577"/>
          <ac:spMkLst>
            <pc:docMk/>
            <pc:sldMk cId="3865673805" sldId="5018"/>
            <ac:spMk id="52" creationId="{FB1CCAB6-4244-F5C1-D619-C44E7D9FA0E1}"/>
          </ac:spMkLst>
        </pc:spChg>
        <pc:spChg chg="mod replST">
          <ac:chgData name="Dion3, Alain (SPAC/PSPC) (il-lui / he-him)" userId="b5972ad0-fee1-4393-9fd4-8bc589782ac7" providerId="ADAL" clId="{1AEDF86E-8907-478C-8350-466BB0658E91}" dt="2024-10-29T15:44:40.328" v="986" actId="790"/>
          <ac:spMkLst>
            <pc:docMk/>
            <pc:sldMk cId="3865673805" sldId="5018"/>
            <ac:spMk id="53" creationId="{77D85CA5-B859-31BE-A852-18BCBED95D02}"/>
          </ac:spMkLst>
        </pc:spChg>
        <pc:spChg chg="mod replST">
          <ac:chgData name="Dion3, Alain (SPAC/PSPC) (il-lui / he-him)" userId="b5972ad0-fee1-4393-9fd4-8bc589782ac7" providerId="ADAL" clId="{1AEDF86E-8907-478C-8350-466BB0658E91}" dt="2024-10-29T15:44:40.328" v="986" actId="790"/>
          <ac:spMkLst>
            <pc:docMk/>
            <pc:sldMk cId="3865673805" sldId="5018"/>
            <ac:spMk id="54" creationId="{D1AF6197-0772-06C0-D39E-B685CA3A6EAD}"/>
          </ac:spMkLst>
        </pc:spChg>
        <pc:spChg chg="mod replST">
          <ac:chgData name="Dion3, Alain (SPAC/PSPC) (il-lui / he-him)" userId="b5972ad0-fee1-4393-9fd4-8bc589782ac7" providerId="ADAL" clId="{1AEDF86E-8907-478C-8350-466BB0658E91}" dt="2024-10-29T15:49:13.668" v="1168" actId="14100"/>
          <ac:spMkLst>
            <pc:docMk/>
            <pc:sldMk cId="3865673805" sldId="5018"/>
            <ac:spMk id="55" creationId="{7A1A59FF-8821-4234-BA1F-86BE5197E628}"/>
          </ac:spMkLst>
        </pc:spChg>
        <pc:spChg chg="mod replST">
          <ac:chgData name="Dion3, Alain (SPAC/PSPC) (il-lui / he-him)" userId="b5972ad0-fee1-4393-9fd4-8bc589782ac7" providerId="ADAL" clId="{1AEDF86E-8907-478C-8350-466BB0658E91}" dt="2024-10-29T15:44:40.328" v="986" actId="790"/>
          <ac:spMkLst>
            <pc:docMk/>
            <pc:sldMk cId="3865673805" sldId="5018"/>
            <ac:spMk id="56" creationId="{ACA4AAD1-FCBE-4C24-0B3D-DE15D577F00F}"/>
          </ac:spMkLst>
        </pc:spChg>
        <pc:spChg chg="mod replST">
          <ac:chgData name="Dion3, Alain (SPAC/PSPC) (il-lui / he-him)" userId="b5972ad0-fee1-4393-9fd4-8bc589782ac7" providerId="ADAL" clId="{1AEDF86E-8907-478C-8350-466BB0658E91}" dt="2024-10-29T15:49:52.444" v="1171" actId="1076"/>
          <ac:spMkLst>
            <pc:docMk/>
            <pc:sldMk cId="3865673805" sldId="5018"/>
            <ac:spMk id="57" creationId="{80C64189-743E-1D6F-BC38-898A98A32465}"/>
          </ac:spMkLst>
        </pc:spChg>
        <pc:spChg chg="mod replST">
          <ac:chgData name="Dion3, Alain (SPAC/PSPC) (il-lui / he-him)" userId="b5972ad0-fee1-4393-9fd4-8bc589782ac7" providerId="ADAL" clId="{1AEDF86E-8907-478C-8350-466BB0658E91}" dt="2024-10-29T15:49:59.508" v="1172" actId="1076"/>
          <ac:spMkLst>
            <pc:docMk/>
            <pc:sldMk cId="3865673805" sldId="5018"/>
            <ac:spMk id="58" creationId="{62D48345-9A67-33B9-271D-D2722B58526B}"/>
          </ac:spMkLst>
        </pc:spChg>
        <pc:spChg chg="mod replST">
          <ac:chgData name="Dion3, Alain (SPAC/PSPC) (il-lui / he-him)" userId="b5972ad0-fee1-4393-9fd4-8bc589782ac7" providerId="ADAL" clId="{1AEDF86E-8907-478C-8350-466BB0658E91}" dt="2024-10-29T15:44:50.136" v="1009" actId="20577"/>
          <ac:spMkLst>
            <pc:docMk/>
            <pc:sldMk cId="3865673805" sldId="5018"/>
            <ac:spMk id="59" creationId="{9EEF3366-3763-B493-96F0-E3984E5F4223}"/>
          </ac:spMkLst>
        </pc:spChg>
        <pc:cxnChg chg="replST">
          <ac:chgData name="Dion3, Alain (SPAC/PSPC) (il-lui / he-him)" userId="b5972ad0-fee1-4393-9fd4-8bc589782ac7" providerId="ADAL" clId="{1AEDF86E-8907-478C-8350-466BB0658E91}" dt="2024-10-29T12:54:37.068" v="261"/>
          <ac:cxnSpMkLst>
            <pc:docMk/>
            <pc:sldMk cId="3865673805" sldId="5018"/>
            <ac:cxnSpMk id="2" creationId="{C96F2F8A-400E-A20B-385F-5F541FA16016}"/>
          </ac:cxnSpMkLst>
        </pc:cxnChg>
        <pc:cxnChg chg="replST">
          <ac:chgData name="Dion3, Alain (SPAC/PSPC) (il-lui / he-him)" userId="b5972ad0-fee1-4393-9fd4-8bc589782ac7" providerId="ADAL" clId="{1AEDF86E-8907-478C-8350-466BB0658E91}" dt="2024-10-29T12:54:37.009" v="252"/>
          <ac:cxnSpMkLst>
            <pc:docMk/>
            <pc:sldMk cId="3865673805" sldId="5018"/>
            <ac:cxnSpMk id="7" creationId="{2BE5BEB0-7BD4-29A1-5362-0AE998BE7E93}"/>
          </ac:cxnSpMkLst>
        </pc:cxnChg>
        <pc:cxnChg chg="replST">
          <ac:chgData name="Dion3, Alain (SPAC/PSPC) (il-lui / he-him)" userId="b5972ad0-fee1-4393-9fd4-8bc589782ac7" providerId="ADAL" clId="{1AEDF86E-8907-478C-8350-466BB0658E91}" dt="2024-10-29T12:54:36.998" v="250"/>
          <ac:cxnSpMkLst>
            <pc:docMk/>
            <pc:sldMk cId="3865673805" sldId="5018"/>
            <ac:cxnSpMk id="13" creationId="{10E575E7-B168-6981-57EE-8C43273FD31D}"/>
          </ac:cxnSpMkLst>
        </pc:cxnChg>
        <pc:cxnChg chg="replST">
          <ac:chgData name="Dion3, Alain (SPAC/PSPC) (il-lui / he-him)" userId="b5972ad0-fee1-4393-9fd4-8bc589782ac7" providerId="ADAL" clId="{1AEDF86E-8907-478C-8350-466BB0658E91}" dt="2024-10-29T12:54:37.047" v="258"/>
          <ac:cxnSpMkLst>
            <pc:docMk/>
            <pc:sldMk cId="3865673805" sldId="5018"/>
            <ac:cxnSpMk id="15" creationId="{7983B277-C430-B365-49FF-CBA08A0541FA}"/>
          </ac:cxnSpMkLst>
        </pc:cxnChg>
        <pc:cxnChg chg="replST">
          <ac:chgData name="Dion3, Alain (SPAC/PSPC) (il-lui / he-him)" userId="b5972ad0-fee1-4393-9fd4-8bc589782ac7" providerId="ADAL" clId="{1AEDF86E-8907-478C-8350-466BB0658E91}" dt="2024-10-29T12:54:37.112" v="268"/>
          <ac:cxnSpMkLst>
            <pc:docMk/>
            <pc:sldMk cId="3865673805" sldId="5018"/>
            <ac:cxnSpMk id="18" creationId="{F6F2A91A-CE4A-5B32-5011-9E94214D716D}"/>
          </ac:cxnSpMkLst>
        </pc:cxnChg>
        <pc:cxnChg chg="replST">
          <ac:chgData name="Dion3, Alain (SPAC/PSPC) (il-lui / he-him)" userId="b5972ad0-fee1-4393-9fd4-8bc589782ac7" providerId="ADAL" clId="{1AEDF86E-8907-478C-8350-466BB0658E91}" dt="2024-10-29T12:54:37.099" v="266"/>
          <ac:cxnSpMkLst>
            <pc:docMk/>
            <pc:sldMk cId="3865673805" sldId="5018"/>
            <ac:cxnSpMk id="24" creationId="{4318A952-A3B7-1777-6453-931747D02D1E}"/>
          </ac:cxnSpMkLst>
        </pc:cxnChg>
        <pc:cxnChg chg="mod replST">
          <ac:chgData name="Dion3, Alain (SPAC/PSPC) (il-lui / he-him)" userId="b5972ad0-fee1-4393-9fd4-8bc589782ac7" providerId="ADAL" clId="{1AEDF86E-8907-478C-8350-466BB0658E91}" dt="2024-10-29T15:49:21.711" v="1169" actId="14100"/>
          <ac:cxnSpMkLst>
            <pc:docMk/>
            <pc:sldMk cId="3865673805" sldId="5018"/>
            <ac:cxnSpMk id="30" creationId="{1915A0C8-9419-C7AD-D3E1-83CFAEC77A44}"/>
          </ac:cxnSpMkLst>
        </pc:cxnChg>
        <pc:cxnChg chg="replST">
          <ac:chgData name="Dion3, Alain (SPAC/PSPC) (il-lui / he-him)" userId="b5972ad0-fee1-4393-9fd4-8bc589782ac7" providerId="ADAL" clId="{1AEDF86E-8907-478C-8350-466BB0658E91}" dt="2024-10-29T12:54:37.160" v="276"/>
          <ac:cxnSpMkLst>
            <pc:docMk/>
            <pc:sldMk cId="3865673805" sldId="5018"/>
            <ac:cxnSpMk id="33" creationId="{D19EECE6-254E-49CD-0954-2FF1EB8394B8}"/>
          </ac:cxnSpMkLst>
        </pc:cxnChg>
        <pc:cxnChg chg="replST">
          <ac:chgData name="Dion3, Alain (SPAC/PSPC) (il-lui / he-him)" userId="b5972ad0-fee1-4393-9fd4-8bc589782ac7" providerId="ADAL" clId="{1AEDF86E-8907-478C-8350-466BB0658E91}" dt="2024-10-29T12:54:37.213" v="282"/>
          <ac:cxnSpMkLst>
            <pc:docMk/>
            <pc:sldMk cId="3865673805" sldId="5018"/>
            <ac:cxnSpMk id="39" creationId="{4BB8F730-2294-2BB6-31E9-6C5CD1F8760C}"/>
          </ac:cxnSpMkLst>
        </pc:cxnChg>
        <pc:cxnChg chg="replST">
          <ac:chgData name="Dion3, Alain (SPAC/PSPC) (il-lui / he-him)" userId="b5972ad0-fee1-4393-9fd4-8bc589782ac7" providerId="ADAL" clId="{1AEDF86E-8907-478C-8350-466BB0658E91}" dt="2024-10-29T12:54:37.236" v="285"/>
          <ac:cxnSpMkLst>
            <pc:docMk/>
            <pc:sldMk cId="3865673805" sldId="5018"/>
            <ac:cxnSpMk id="42" creationId="{13A6E390-93FA-DA58-F68C-B5F177D1BD2C}"/>
          </ac:cxnSpMkLst>
        </pc:cxnChg>
        <pc:cxnChg chg="replST">
          <ac:chgData name="Dion3, Alain (SPAC/PSPC) (il-lui / he-him)" userId="b5972ad0-fee1-4393-9fd4-8bc589782ac7" providerId="ADAL" clId="{1AEDF86E-8907-478C-8350-466BB0658E91}" dt="2024-10-29T12:54:37.241" v="286"/>
          <ac:cxnSpMkLst>
            <pc:docMk/>
            <pc:sldMk cId="3865673805" sldId="5018"/>
            <ac:cxnSpMk id="43" creationId="{7B3B1AD4-3FA7-7099-D700-61286027097C}"/>
          </ac:cxnSpMkLst>
        </pc:cxnChg>
        <pc:cxnChg chg="replST">
          <ac:chgData name="Dion3, Alain (SPAC/PSPC) (il-lui / he-him)" userId="b5972ad0-fee1-4393-9fd4-8bc589782ac7" providerId="ADAL" clId="{1AEDF86E-8907-478C-8350-466BB0658E91}" dt="2024-10-29T12:54:37.246" v="287"/>
          <ac:cxnSpMkLst>
            <pc:docMk/>
            <pc:sldMk cId="3865673805" sldId="5018"/>
            <ac:cxnSpMk id="63" creationId="{B32AA51F-1724-BA56-E823-B032DD85AA41}"/>
          </ac:cxnSpMkLst>
        </pc:cxnChg>
      </pc:sldChg>
      <pc:sldChg chg="modSp mod">
        <pc:chgData name="Dion3, Alain (SPAC/PSPC) (il-lui / he-him)" userId="b5972ad0-fee1-4393-9fd4-8bc589782ac7" providerId="ADAL" clId="{1AEDF86E-8907-478C-8350-466BB0658E91}" dt="2024-10-29T15:59:01.426" v="1452" actId="20577"/>
        <pc:sldMkLst>
          <pc:docMk/>
          <pc:sldMk cId="4127869610" sldId="5019"/>
        </pc:sldMkLst>
        <pc:spChg chg="mod replST">
          <ac:chgData name="Dion3, Alain (SPAC/PSPC) (il-lui / he-him)" userId="b5972ad0-fee1-4393-9fd4-8bc589782ac7" providerId="ADAL" clId="{1AEDF86E-8907-478C-8350-466BB0658E91}" dt="2024-10-29T15:59:01.426" v="1452" actId="20577"/>
          <ac:spMkLst>
            <pc:docMk/>
            <pc:sldMk cId="4127869610" sldId="5019"/>
            <ac:spMk id="2" creationId="{DDEB6BE0-BB00-FDB4-9881-EC44FA117B0C}"/>
          </ac:spMkLst>
        </pc:spChg>
      </pc:sldChg>
      <pc:sldChg chg="modSp mod">
        <pc:chgData name="Dion3, Alain (SPAC/PSPC) (il-lui / he-him)" userId="b5972ad0-fee1-4393-9fd4-8bc589782ac7" providerId="ADAL" clId="{1AEDF86E-8907-478C-8350-466BB0658E91}" dt="2024-10-30T13:17:54.604" v="3570" actId="20577"/>
        <pc:sldMkLst>
          <pc:docMk/>
          <pc:sldMk cId="3253347275" sldId="5021"/>
        </pc:sldMkLst>
        <pc:spChg chg="mod replST">
          <ac:chgData name="Dion3, Alain (SPAC/PSPC) (il-lui / he-him)" userId="b5972ad0-fee1-4393-9fd4-8bc589782ac7" providerId="ADAL" clId="{1AEDF86E-8907-478C-8350-466BB0658E91}" dt="2024-10-30T13:17:54.604" v="3570" actId="20577"/>
          <ac:spMkLst>
            <pc:docMk/>
            <pc:sldMk cId="3253347275" sldId="5021"/>
            <ac:spMk id="2" creationId="{ECE54B41-AB8B-A396-0E3C-85310818D719}"/>
          </ac:spMkLst>
        </pc:spChg>
        <pc:spChg chg="mod replST">
          <ac:chgData name="Dion3, Alain (SPAC/PSPC) (il-lui / he-him)" userId="b5972ad0-fee1-4393-9fd4-8bc589782ac7" providerId="ADAL" clId="{1AEDF86E-8907-478C-8350-466BB0658E91}" dt="2024-10-29T18:11:34.184" v="2403" actId="20577"/>
          <ac:spMkLst>
            <pc:docMk/>
            <pc:sldMk cId="3253347275" sldId="5021"/>
            <ac:spMk id="8" creationId="{BE55429A-6F3A-2285-E739-C5FAA648F760}"/>
          </ac:spMkLst>
        </pc:spChg>
      </pc:sldChg>
      <pc:sldMasterChg chg="modSp mod">
        <pc:chgData name="Dion3, Alain (SPAC/PSPC) (il-lui / he-him)" userId="b5972ad0-fee1-4393-9fd4-8bc589782ac7" providerId="ADAL" clId="{1AEDF86E-8907-478C-8350-466BB0658E91}" dt="2024-10-29T12:38:29.322" v="19" actId="14826"/>
        <pc:sldMasterMkLst>
          <pc:docMk/>
          <pc:sldMasterMk cId="792885655" sldId="2147483675"/>
        </pc:sldMasterMkLst>
        <pc:picChg chg="mod">
          <ac:chgData name="Dion3, Alain (SPAC/PSPC) (il-lui / he-him)" userId="b5972ad0-fee1-4393-9fd4-8bc589782ac7" providerId="ADAL" clId="{1AEDF86E-8907-478C-8350-466BB0658E91}" dt="2024-10-29T12:38:29.322" v="19" actId="14826"/>
          <ac:picMkLst>
            <pc:docMk/>
            <pc:sldMasterMk cId="792885655" sldId="2147483675"/>
            <ac:picMk id="8" creationId="{89CA9733-78EF-5F49-81C1-064DE89D5260}"/>
          </ac:picMkLst>
        </pc:picChg>
        <pc:picChg chg="mod">
          <ac:chgData name="Dion3, Alain (SPAC/PSPC) (il-lui / he-him)" userId="b5972ad0-fee1-4393-9fd4-8bc589782ac7" providerId="ADAL" clId="{1AEDF86E-8907-478C-8350-466BB0658E91}" dt="2024-10-29T12:38:19.978" v="18" actId="14826"/>
          <ac:picMkLst>
            <pc:docMk/>
            <pc:sldMasterMk cId="792885655" sldId="2147483675"/>
            <ac:picMk id="12" creationId="{00000000-0000-0000-0000-000000000000}"/>
          </ac:picMkLst>
        </pc:picChg>
      </pc:sldMasterChg>
    </pc:docChg>
  </pc:docChgLst>
  <pc:docChgLst>
    <pc:chgData name="Elgee, Jeffrey (SPAC/PSPC)" userId="S::jeffrey.elgee@tpsgc-pwgsc.gc.ca::e10f0e9c-c03f-4fde-9113-11216b420c44" providerId="AD" clId="Web-{1B33E0D5-426C-3451-2EA0-D8D96C97978D}"/>
    <pc:docChg chg="modSld">
      <pc:chgData name="Elgee, Jeffrey (SPAC/PSPC)" userId="S::jeffrey.elgee@tpsgc-pwgsc.gc.ca::e10f0e9c-c03f-4fde-9113-11216b420c44" providerId="AD" clId="Web-{1B33E0D5-426C-3451-2EA0-D8D96C97978D}" dt="2024-06-12T16:52:30.593" v="136" actId="20577"/>
      <pc:docMkLst>
        <pc:docMk/>
      </pc:docMkLst>
      <pc:sldChg chg="addSp modSp">
        <pc:chgData name="Elgee, Jeffrey (SPAC/PSPC)" userId="S::jeffrey.elgee@tpsgc-pwgsc.gc.ca::e10f0e9c-c03f-4fde-9113-11216b420c44" providerId="AD" clId="Web-{1B33E0D5-426C-3451-2EA0-D8D96C97978D}" dt="2024-06-12T16:52:30.593" v="136" actId="20577"/>
        <pc:sldMkLst>
          <pc:docMk/>
          <pc:sldMk cId="3716027044" sldId="5010"/>
        </pc:sldMkLst>
        <pc:spChg chg="add mod">
          <ac:chgData name="Elgee, Jeffrey (SPAC/PSPC)" userId="S::jeffrey.elgee@tpsgc-pwgsc.gc.ca::e10f0e9c-c03f-4fde-9113-11216b420c44" providerId="AD" clId="Web-{1B33E0D5-426C-3451-2EA0-D8D96C97978D}" dt="2024-06-12T16:52:30.593" v="136" actId="20577"/>
          <ac:spMkLst>
            <pc:docMk/>
            <pc:sldMk cId="3716027044" sldId="5010"/>
            <ac:spMk id="3" creationId="{7CFBC1A6-417D-60C5-7EDD-71952C635E89}"/>
          </ac:spMkLst>
        </pc:spChg>
      </pc:sldChg>
    </pc:docChg>
  </pc:docChgLst>
  <pc:docChgLst>
    <pc:chgData name="Elgee, Jeffrey (SPAC/PSPC)" userId="S::jeffrey.elgee@tpsgc-pwgsc.gc.ca::e10f0e9c-c03f-4fde-9113-11216b420c44" providerId="AD" clId="Web-{BC4256F7-148A-78B6-A9ED-5045FE6BE00A}"/>
    <pc:docChg chg="addSld modSld">
      <pc:chgData name="Elgee, Jeffrey (SPAC/PSPC)" userId="S::jeffrey.elgee@tpsgc-pwgsc.gc.ca::e10f0e9c-c03f-4fde-9113-11216b420c44" providerId="AD" clId="Web-{BC4256F7-148A-78B6-A9ED-5045FE6BE00A}" dt="2024-06-05T18:27:45.901" v="15" actId="1076"/>
      <pc:docMkLst>
        <pc:docMk/>
      </pc:docMkLst>
      <pc:sldChg chg="addSp delSp modSp">
        <pc:chgData name="Elgee, Jeffrey (SPAC/PSPC)" userId="S::jeffrey.elgee@tpsgc-pwgsc.gc.ca::e10f0e9c-c03f-4fde-9113-11216b420c44" providerId="AD" clId="Web-{BC4256F7-148A-78B6-A9ED-5045FE6BE00A}" dt="2024-06-05T18:27:45.901" v="15" actId="1076"/>
        <pc:sldMkLst>
          <pc:docMk/>
          <pc:sldMk cId="3194185217" sldId="5000"/>
        </pc:sldMkLst>
        <pc:spChg chg="del">
          <ac:chgData name="Elgee, Jeffrey (SPAC/PSPC)" userId="S::jeffrey.elgee@tpsgc-pwgsc.gc.ca::e10f0e9c-c03f-4fde-9113-11216b420c44" providerId="AD" clId="Web-{BC4256F7-148A-78B6-A9ED-5045FE6BE00A}" dt="2024-06-05T18:27:37.370" v="14"/>
          <ac:spMkLst>
            <pc:docMk/>
            <pc:sldMk cId="3194185217" sldId="5000"/>
            <ac:spMk id="4" creationId="{58011242-3B58-087A-52DA-31351CD501E0}"/>
          </ac:spMkLst>
        </pc:spChg>
        <pc:spChg chg="mod">
          <ac:chgData name="Elgee, Jeffrey (SPAC/PSPC)" userId="S::jeffrey.elgee@tpsgc-pwgsc.gc.ca::e10f0e9c-c03f-4fde-9113-11216b420c44" providerId="AD" clId="Web-{BC4256F7-148A-78B6-A9ED-5045FE6BE00A}" dt="2024-06-05T18:11:14.068" v="11" actId="1076"/>
          <ac:spMkLst>
            <pc:docMk/>
            <pc:sldMk cId="3194185217" sldId="5000"/>
            <ac:spMk id="69" creationId="{CDB7C5CD-F4AC-8A66-5378-BF3E4CB2B2A8}"/>
          </ac:spMkLst>
        </pc:spChg>
        <pc:grpChg chg="mod">
          <ac:chgData name="Elgee, Jeffrey (SPAC/PSPC)" userId="S::jeffrey.elgee@tpsgc-pwgsc.gc.ca::e10f0e9c-c03f-4fde-9113-11216b420c44" providerId="AD" clId="Web-{BC4256F7-148A-78B6-A9ED-5045FE6BE00A}" dt="2024-06-05T18:11:07.614" v="10" actId="1076"/>
          <ac:grpSpMkLst>
            <pc:docMk/>
            <pc:sldMk cId="3194185217" sldId="5000"/>
            <ac:grpSpMk id="3" creationId="{EAFCA7DA-B3A3-40D1-F2DD-88BF94C0FDEE}"/>
          </ac:grpSpMkLst>
        </pc:grpChg>
        <pc:grpChg chg="add mod">
          <ac:chgData name="Elgee, Jeffrey (SPAC/PSPC)" userId="S::jeffrey.elgee@tpsgc-pwgsc.gc.ca::e10f0e9c-c03f-4fde-9113-11216b420c44" providerId="AD" clId="Web-{BC4256F7-148A-78B6-A9ED-5045FE6BE00A}" dt="2024-06-05T18:27:45.901" v="15" actId="1076"/>
          <ac:grpSpMkLst>
            <pc:docMk/>
            <pc:sldMk cId="3194185217" sldId="5000"/>
            <ac:grpSpMk id="110" creationId="{1CB9BAB3-39DC-FD22-E6E1-937E3162FB5C}"/>
          </ac:grpSpMkLst>
        </pc:grpChg>
      </pc:sldChg>
      <pc:sldChg chg="add replId">
        <pc:chgData name="Elgee, Jeffrey (SPAC/PSPC)" userId="S::jeffrey.elgee@tpsgc-pwgsc.gc.ca::e10f0e9c-c03f-4fde-9113-11216b420c44" providerId="AD" clId="Web-{BC4256F7-148A-78B6-A9ED-5045FE6BE00A}" dt="2024-06-05T18:10:23.067" v="1"/>
        <pc:sldMkLst>
          <pc:docMk/>
          <pc:sldMk cId="3820944322" sldId="5005"/>
        </pc:sldMkLst>
      </pc:sldChg>
    </pc:docChg>
  </pc:docChgLst>
  <pc:docChgLst>
    <pc:chgData name="Elgee, Jeffrey (SPAC/PSPC)" userId="e10f0e9c-c03f-4fde-9113-11216b420c44" providerId="ADAL" clId="{8A22DB22-CE08-4237-BAFA-661B83772496}"/>
    <pc:docChg chg="undo redo custSel addSld delSld modSld">
      <pc:chgData name="Elgee, Jeffrey (SPAC/PSPC)" userId="e10f0e9c-c03f-4fde-9113-11216b420c44" providerId="ADAL" clId="{8A22DB22-CE08-4237-BAFA-661B83772496}" dt="2024-06-12T14:02:37.622" v="3537" actId="13926"/>
      <pc:docMkLst>
        <pc:docMk/>
      </pc:docMkLst>
      <pc:sldChg chg="addSp delSp modSp add mod modClrScheme chgLayout modNotesTx">
        <pc:chgData name="Elgee, Jeffrey (SPAC/PSPC)" userId="e10f0e9c-c03f-4fde-9113-11216b420c44" providerId="ADAL" clId="{8A22DB22-CE08-4237-BAFA-661B83772496}" dt="2024-06-10T20:05:12.901" v="2478" actId="20577"/>
        <pc:sldMkLst>
          <pc:docMk/>
          <pc:sldMk cId="1875387166" sldId="261"/>
        </pc:sldMkLst>
        <pc:spChg chg="add del mod ord">
          <ac:chgData name="Elgee, Jeffrey (SPAC/PSPC)" userId="e10f0e9c-c03f-4fde-9113-11216b420c44" providerId="ADAL" clId="{8A22DB22-CE08-4237-BAFA-661B83772496}" dt="2024-06-06T18:02:01.430" v="925" actId="478"/>
          <ac:spMkLst>
            <pc:docMk/>
            <pc:sldMk cId="1875387166" sldId="261"/>
            <ac:spMk id="2" creationId="{21AE3424-C166-D6DD-B860-0627A0DBBDE0}"/>
          </ac:spMkLst>
        </pc:spChg>
        <pc:spChg chg="add del mod ord">
          <ac:chgData name="Elgee, Jeffrey (SPAC/PSPC)" userId="e10f0e9c-c03f-4fde-9113-11216b420c44" providerId="ADAL" clId="{8A22DB22-CE08-4237-BAFA-661B83772496}" dt="2024-06-06T18:02:05.177" v="926" actId="478"/>
          <ac:spMkLst>
            <pc:docMk/>
            <pc:sldMk cId="1875387166" sldId="261"/>
            <ac:spMk id="3" creationId="{DD28ADE1-77A9-8DDE-665F-CE2CD7213E62}"/>
          </ac:spMkLst>
        </pc:spChg>
        <pc:spChg chg="add del mod">
          <ac:chgData name="Elgee, Jeffrey (SPAC/PSPC)" userId="e10f0e9c-c03f-4fde-9113-11216b420c44" providerId="ADAL" clId="{8A22DB22-CE08-4237-BAFA-661B83772496}" dt="2024-06-06T18:05:34.072" v="929"/>
          <ac:spMkLst>
            <pc:docMk/>
            <pc:sldMk cId="1875387166" sldId="261"/>
            <ac:spMk id="4" creationId="{B2FC2CBC-9439-436F-1EB7-34B0D07AB7E0}"/>
          </ac:spMkLst>
        </pc:spChg>
        <pc:spChg chg="del">
          <ac:chgData name="Elgee, Jeffrey (SPAC/PSPC)" userId="e10f0e9c-c03f-4fde-9113-11216b420c44" providerId="ADAL" clId="{8A22DB22-CE08-4237-BAFA-661B83772496}" dt="2024-06-06T18:24:31.193" v="1266" actId="478"/>
          <ac:spMkLst>
            <pc:docMk/>
            <pc:sldMk cId="1875387166" sldId="261"/>
            <ac:spMk id="5" creationId="{E1829E29-EF69-4153-95EC-9C1110DC19B6}"/>
          </ac:spMkLst>
        </pc:spChg>
        <pc:spChg chg="mod ord">
          <ac:chgData name="Elgee, Jeffrey (SPAC/PSPC)" userId="e10f0e9c-c03f-4fde-9113-11216b420c44" providerId="ADAL" clId="{8A22DB22-CE08-4237-BAFA-661B83772496}" dt="2024-06-06T18:01:53.327" v="924" actId="700"/>
          <ac:spMkLst>
            <pc:docMk/>
            <pc:sldMk cId="1875387166" sldId="261"/>
            <ac:spMk id="7" creationId="{0E5312BC-D894-4EF1-B411-739DA565E3FB}"/>
          </ac:spMkLst>
        </pc:spChg>
        <pc:spChg chg="add mod">
          <ac:chgData name="Elgee, Jeffrey (SPAC/PSPC)" userId="e10f0e9c-c03f-4fde-9113-11216b420c44" providerId="ADAL" clId="{8A22DB22-CE08-4237-BAFA-661B83772496}" dt="2024-06-06T18:36:09.811" v="1399" actId="207"/>
          <ac:spMkLst>
            <pc:docMk/>
            <pc:sldMk cId="1875387166" sldId="261"/>
            <ac:spMk id="10" creationId="{3D47C0AB-1ACB-3694-CE31-D36104FDCD68}"/>
          </ac:spMkLst>
        </pc:spChg>
        <pc:spChg chg="mod">
          <ac:chgData name="Elgee, Jeffrey (SPAC/PSPC)" userId="e10f0e9c-c03f-4fde-9113-11216b420c44" providerId="ADAL" clId="{8A22DB22-CE08-4237-BAFA-661B83772496}" dt="2024-06-06T18:35:44.783" v="1396" actId="208"/>
          <ac:spMkLst>
            <pc:docMk/>
            <pc:sldMk cId="1875387166" sldId="261"/>
            <ac:spMk id="40" creationId="{82E706F3-FA6A-1345-B840-7541D93DEE0B}"/>
          </ac:spMkLst>
        </pc:spChg>
        <pc:spChg chg="mod">
          <ac:chgData name="Elgee, Jeffrey (SPAC/PSPC)" userId="e10f0e9c-c03f-4fde-9113-11216b420c44" providerId="ADAL" clId="{8A22DB22-CE08-4237-BAFA-661B83772496}" dt="2024-06-06T18:37:07.041" v="1408" actId="1076"/>
          <ac:spMkLst>
            <pc:docMk/>
            <pc:sldMk cId="1875387166" sldId="261"/>
            <ac:spMk id="51" creationId="{A42873D4-5793-384D-9BE3-818F527827B0}"/>
          </ac:spMkLst>
        </pc:spChg>
        <pc:spChg chg="mod">
          <ac:chgData name="Elgee, Jeffrey (SPAC/PSPC)" userId="e10f0e9c-c03f-4fde-9113-11216b420c44" providerId="ADAL" clId="{8A22DB22-CE08-4237-BAFA-661B83772496}" dt="2024-06-06T18:36:59.056" v="1406" actId="207"/>
          <ac:spMkLst>
            <pc:docMk/>
            <pc:sldMk cId="1875387166" sldId="261"/>
            <ac:spMk id="52" creationId="{E504786C-20B8-044D-B38E-955BC8F44CEA}"/>
          </ac:spMkLst>
        </pc:spChg>
        <pc:spChg chg="mod">
          <ac:chgData name="Elgee, Jeffrey (SPAC/PSPC)" userId="e10f0e9c-c03f-4fde-9113-11216b420c44" providerId="ADAL" clId="{8A22DB22-CE08-4237-BAFA-661B83772496}" dt="2024-06-06T18:36:41.154" v="1404" actId="207"/>
          <ac:spMkLst>
            <pc:docMk/>
            <pc:sldMk cId="1875387166" sldId="261"/>
            <ac:spMk id="54" creationId="{5490FC9F-889D-A044-9A24-51CB6BB0725C}"/>
          </ac:spMkLst>
        </pc:spChg>
        <pc:spChg chg="mod">
          <ac:chgData name="Elgee, Jeffrey (SPAC/PSPC)" userId="e10f0e9c-c03f-4fde-9113-11216b420c44" providerId="ADAL" clId="{8A22DB22-CE08-4237-BAFA-661B83772496}" dt="2024-06-06T18:36:50.358" v="1405" actId="207"/>
          <ac:spMkLst>
            <pc:docMk/>
            <pc:sldMk cId="1875387166" sldId="261"/>
            <ac:spMk id="55" creationId="{C65A198B-1883-1A4B-A8B4-DD725DC9EB17}"/>
          </ac:spMkLst>
        </pc:spChg>
        <pc:spChg chg="mod">
          <ac:chgData name="Elgee, Jeffrey (SPAC/PSPC)" userId="e10f0e9c-c03f-4fde-9113-11216b420c44" providerId="ADAL" clId="{8A22DB22-CE08-4237-BAFA-661B83772496}" dt="2024-06-06T18:35:56.864" v="1397" actId="207"/>
          <ac:spMkLst>
            <pc:docMk/>
            <pc:sldMk cId="1875387166" sldId="261"/>
            <ac:spMk id="56" creationId="{432E7640-9E73-0D40-A6F4-AC27C1BD258B}"/>
          </ac:spMkLst>
        </pc:spChg>
        <pc:spChg chg="mod">
          <ac:chgData name="Elgee, Jeffrey (SPAC/PSPC)" userId="e10f0e9c-c03f-4fde-9113-11216b420c44" providerId="ADAL" clId="{8A22DB22-CE08-4237-BAFA-661B83772496}" dt="2024-06-10T20:00:49.490" v="2438" actId="20577"/>
          <ac:spMkLst>
            <pc:docMk/>
            <pc:sldMk cId="1875387166" sldId="261"/>
            <ac:spMk id="57" creationId="{9A6652DC-5AC2-7644-AD89-4F3E30042289}"/>
          </ac:spMkLst>
        </pc:spChg>
        <pc:spChg chg="mod">
          <ac:chgData name="Elgee, Jeffrey (SPAC/PSPC)" userId="e10f0e9c-c03f-4fde-9113-11216b420c44" providerId="ADAL" clId="{8A22DB22-CE08-4237-BAFA-661B83772496}" dt="2024-06-06T18:36:14.697" v="1400" actId="207"/>
          <ac:spMkLst>
            <pc:docMk/>
            <pc:sldMk cId="1875387166" sldId="261"/>
            <ac:spMk id="59" creationId="{F1F230E2-1267-6E4F-8031-0EC3BDB25111}"/>
          </ac:spMkLst>
        </pc:spChg>
        <pc:spChg chg="del">
          <ac:chgData name="Elgee, Jeffrey (SPAC/PSPC)" userId="e10f0e9c-c03f-4fde-9113-11216b420c44" providerId="ADAL" clId="{8A22DB22-CE08-4237-BAFA-661B83772496}" dt="2024-06-06T18:01:04.082" v="918" actId="478"/>
          <ac:spMkLst>
            <pc:docMk/>
            <pc:sldMk cId="1875387166" sldId="261"/>
            <ac:spMk id="60" creationId="{6A8488CB-8948-F140-BF50-ECA07AD8109D}"/>
          </ac:spMkLst>
        </pc:spChg>
        <pc:spChg chg="del">
          <ac:chgData name="Elgee, Jeffrey (SPAC/PSPC)" userId="e10f0e9c-c03f-4fde-9113-11216b420c44" providerId="ADAL" clId="{8A22DB22-CE08-4237-BAFA-661B83772496}" dt="2024-06-06T18:01:00.163" v="917" actId="478"/>
          <ac:spMkLst>
            <pc:docMk/>
            <pc:sldMk cId="1875387166" sldId="261"/>
            <ac:spMk id="61" creationId="{ACE322D1-BE34-5B42-9EBA-164E4ED1DED1}"/>
          </ac:spMkLst>
        </pc:spChg>
        <pc:spChg chg="del">
          <ac:chgData name="Elgee, Jeffrey (SPAC/PSPC)" userId="e10f0e9c-c03f-4fde-9113-11216b420c44" providerId="ADAL" clId="{8A22DB22-CE08-4237-BAFA-661B83772496}" dt="2024-06-06T18:01:08.514" v="919" actId="478"/>
          <ac:spMkLst>
            <pc:docMk/>
            <pc:sldMk cId="1875387166" sldId="261"/>
            <ac:spMk id="62" creationId="{EC0B0DF1-5041-1E4C-8D53-689D605A0A6F}"/>
          </ac:spMkLst>
        </pc:spChg>
        <pc:spChg chg="del">
          <ac:chgData name="Elgee, Jeffrey (SPAC/PSPC)" userId="e10f0e9c-c03f-4fde-9113-11216b420c44" providerId="ADAL" clId="{8A22DB22-CE08-4237-BAFA-661B83772496}" dt="2024-06-06T18:01:12.675" v="920" actId="478"/>
          <ac:spMkLst>
            <pc:docMk/>
            <pc:sldMk cId="1875387166" sldId="261"/>
            <ac:spMk id="63" creationId="{1182BBD0-A845-5548-A48D-DFC7538124C2}"/>
          </ac:spMkLst>
        </pc:spChg>
        <pc:spChg chg="del">
          <ac:chgData name="Elgee, Jeffrey (SPAC/PSPC)" userId="e10f0e9c-c03f-4fde-9113-11216b420c44" providerId="ADAL" clId="{8A22DB22-CE08-4237-BAFA-661B83772496}" dt="2024-06-06T18:01:16.578" v="921" actId="478"/>
          <ac:spMkLst>
            <pc:docMk/>
            <pc:sldMk cId="1875387166" sldId="261"/>
            <ac:spMk id="64" creationId="{4F2BC55B-75CF-7B4B-9C75-E00F26A8F5B8}"/>
          </ac:spMkLst>
        </pc:spChg>
        <pc:cxnChg chg="add del mod">
          <ac:chgData name="Elgee, Jeffrey (SPAC/PSPC)" userId="e10f0e9c-c03f-4fde-9113-11216b420c44" providerId="ADAL" clId="{8A22DB22-CE08-4237-BAFA-661B83772496}" dt="2024-06-06T18:26:49.002" v="1290" actId="478"/>
          <ac:cxnSpMkLst>
            <pc:docMk/>
            <pc:sldMk cId="1875387166" sldId="261"/>
            <ac:cxnSpMk id="12" creationId="{BDE86105-CA93-DFEC-23D1-4FA46A0C45FB}"/>
          </ac:cxnSpMkLst>
        </pc:cxnChg>
        <pc:cxnChg chg="add del mod">
          <ac:chgData name="Elgee, Jeffrey (SPAC/PSPC)" userId="e10f0e9c-c03f-4fde-9113-11216b420c44" providerId="ADAL" clId="{8A22DB22-CE08-4237-BAFA-661B83772496}" dt="2024-06-06T18:26:48.181" v="1289" actId="478"/>
          <ac:cxnSpMkLst>
            <pc:docMk/>
            <pc:sldMk cId="1875387166" sldId="261"/>
            <ac:cxnSpMk id="13" creationId="{017A6896-7915-1C45-D73B-9C4D43C019AD}"/>
          </ac:cxnSpMkLst>
        </pc:cxnChg>
        <pc:cxnChg chg="add del mod">
          <ac:chgData name="Elgee, Jeffrey (SPAC/PSPC)" userId="e10f0e9c-c03f-4fde-9113-11216b420c44" providerId="ADAL" clId="{8A22DB22-CE08-4237-BAFA-661B83772496}" dt="2024-06-06T18:26:47.440" v="1288" actId="478"/>
          <ac:cxnSpMkLst>
            <pc:docMk/>
            <pc:sldMk cId="1875387166" sldId="261"/>
            <ac:cxnSpMk id="16" creationId="{42F01C50-1EA6-FC78-46ED-8742A7F0E7A2}"/>
          </ac:cxnSpMkLst>
        </pc:cxnChg>
        <pc:cxnChg chg="mod">
          <ac:chgData name="Elgee, Jeffrey (SPAC/PSPC)" userId="e10f0e9c-c03f-4fde-9113-11216b420c44" providerId="ADAL" clId="{8A22DB22-CE08-4237-BAFA-661B83772496}" dt="2024-06-06T18:36:25.282" v="1402" actId="208"/>
          <ac:cxnSpMkLst>
            <pc:docMk/>
            <pc:sldMk cId="1875387166" sldId="261"/>
            <ac:cxnSpMk id="45" creationId="{136D3FD2-6787-4A4F-91CE-8770E54F376B}"/>
          </ac:cxnSpMkLst>
        </pc:cxnChg>
        <pc:cxnChg chg="mod">
          <ac:chgData name="Elgee, Jeffrey (SPAC/PSPC)" userId="e10f0e9c-c03f-4fde-9113-11216b420c44" providerId="ADAL" clId="{8A22DB22-CE08-4237-BAFA-661B83772496}" dt="2024-06-06T18:36:19.086" v="1401" actId="208"/>
          <ac:cxnSpMkLst>
            <pc:docMk/>
            <pc:sldMk cId="1875387166" sldId="261"/>
            <ac:cxnSpMk id="48" creationId="{349CE16F-30BD-634E-AC0B-DF9FE158DBDD}"/>
          </ac:cxnSpMkLst>
        </pc:cxnChg>
      </pc:sldChg>
      <pc:sldChg chg="modSp mod">
        <pc:chgData name="Elgee, Jeffrey (SPAC/PSPC)" userId="e10f0e9c-c03f-4fde-9113-11216b420c44" providerId="ADAL" clId="{8A22DB22-CE08-4237-BAFA-661B83772496}" dt="2024-06-12T13:35:50.609" v="3213" actId="20577"/>
        <pc:sldMkLst>
          <pc:docMk/>
          <pc:sldMk cId="1739606208" sldId="384"/>
        </pc:sldMkLst>
        <pc:spChg chg="mod">
          <ac:chgData name="Elgee, Jeffrey (SPAC/PSPC)" userId="e10f0e9c-c03f-4fde-9113-11216b420c44" providerId="ADAL" clId="{8A22DB22-CE08-4237-BAFA-661B83772496}" dt="2024-06-12T13:35:50.609" v="3213" actId="20577"/>
          <ac:spMkLst>
            <pc:docMk/>
            <pc:sldMk cId="1739606208" sldId="384"/>
            <ac:spMk id="2" creationId="{00000000-0000-0000-0000-000000000000}"/>
          </ac:spMkLst>
        </pc:spChg>
      </pc:sldChg>
      <pc:sldChg chg="modSp mod addCm">
        <pc:chgData name="Elgee, Jeffrey (SPAC/PSPC)" userId="e10f0e9c-c03f-4fde-9113-11216b420c44" providerId="ADAL" clId="{8A22DB22-CE08-4237-BAFA-661B83772496}" dt="2024-06-12T13:48:33.339" v="3382"/>
        <pc:sldMkLst>
          <pc:docMk/>
          <pc:sldMk cId="3291831031" sldId="4970"/>
        </pc:sldMkLst>
        <pc:spChg chg="mod">
          <ac:chgData name="Elgee, Jeffrey (SPAC/PSPC)" userId="e10f0e9c-c03f-4fde-9113-11216b420c44" providerId="ADAL" clId="{8A22DB22-CE08-4237-BAFA-661B83772496}" dt="2024-06-06T14:24:34.934" v="873" actId="1076"/>
          <ac:spMkLst>
            <pc:docMk/>
            <pc:sldMk cId="3291831031" sldId="4970"/>
            <ac:spMk id="2" creationId="{C74025A8-BF11-4E8B-9432-F1A9787EEC2E}"/>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8:33.339" v="3382"/>
              <pc2:cmMkLst xmlns:pc2="http://schemas.microsoft.com/office/powerpoint/2019/9/main/command">
                <pc:docMk/>
                <pc:sldMk cId="3291831031" sldId="4970"/>
                <pc2:cmMk id="{479CF1C4-546D-448B-B989-CB381F9832A6}"/>
              </pc2:cmMkLst>
            </pc226:cmChg>
          </p:ext>
        </pc:extLst>
      </pc:sldChg>
      <pc:sldChg chg="modSp mod modCm">
        <pc:chgData name="Elgee, Jeffrey (SPAC/PSPC)" userId="e10f0e9c-c03f-4fde-9113-11216b420c44" providerId="ADAL" clId="{8A22DB22-CE08-4237-BAFA-661B83772496}" dt="2024-06-07T19:41:35.730" v="1960" actId="21"/>
        <pc:sldMkLst>
          <pc:docMk/>
          <pc:sldMk cId="4155933925" sldId="4984"/>
        </pc:sldMkLst>
        <pc:spChg chg="mod">
          <ac:chgData name="Elgee, Jeffrey (SPAC/PSPC)" userId="e10f0e9c-c03f-4fde-9113-11216b420c44" providerId="ADAL" clId="{8A22DB22-CE08-4237-BAFA-661B83772496}" dt="2024-06-07T19:41:35.730" v="1960" actId="21"/>
          <ac:spMkLst>
            <pc:docMk/>
            <pc:sldMk cId="4155933925" sldId="4984"/>
            <ac:spMk id="11" creationId="{82F5B177-C67A-375D-E48A-2DABED3F8ED2}"/>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65D6F518-B3A5-41F4-BB91-094F93D09B64}"/>
              </pc2:cmMkLst>
            </pc226:cmChg>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90BDC0CE-7C6D-4B9F-ACBA-DAFCE409FDE5}"/>
              </pc2:cmMkLst>
            </pc226:cmChg>
          </p:ext>
        </pc:extLst>
      </pc:sldChg>
      <pc:sldChg chg="addSp delSp modSp mod modClrScheme chgLayout">
        <pc:chgData name="Elgee, Jeffrey (SPAC/PSPC)" userId="e10f0e9c-c03f-4fde-9113-11216b420c44" providerId="ADAL" clId="{8A22DB22-CE08-4237-BAFA-661B83772496}" dt="2024-06-06T14:59:48.682" v="896" actId="207"/>
        <pc:sldMkLst>
          <pc:docMk/>
          <pc:sldMk cId="625183133" sldId="4986"/>
        </pc:sldMkLst>
        <pc:spChg chg="mod ord">
          <ac:chgData name="Elgee, Jeffrey (SPAC/PSPC)" userId="e10f0e9c-c03f-4fde-9113-11216b420c44" providerId="ADAL" clId="{8A22DB22-CE08-4237-BAFA-661B83772496}" dt="2024-06-06T14:59:28.165" v="892" actId="700"/>
          <ac:spMkLst>
            <pc:docMk/>
            <pc:sldMk cId="625183133" sldId="4986"/>
            <ac:spMk id="2" creationId="{459AFBF6-A3FE-12ED-8681-E058ECB7745D}"/>
          </ac:spMkLst>
        </pc:spChg>
        <pc:spChg chg="mod">
          <ac:chgData name="Elgee, Jeffrey (SPAC/PSPC)" userId="e10f0e9c-c03f-4fde-9113-11216b420c44" providerId="ADAL" clId="{8A22DB22-CE08-4237-BAFA-661B83772496}" dt="2024-06-06T14:59:48.682" v="896" actId="207"/>
          <ac:spMkLst>
            <pc:docMk/>
            <pc:sldMk cId="625183133" sldId="4986"/>
            <ac:spMk id="3" creationId="{CC8B02F3-0C27-03C9-5D56-EC07236B6660}"/>
          </ac:spMkLst>
        </pc:spChg>
        <pc:spChg chg="add del mod ord">
          <ac:chgData name="Elgee, Jeffrey (SPAC/PSPC)" userId="e10f0e9c-c03f-4fde-9113-11216b420c44" providerId="ADAL" clId="{8A22DB22-CE08-4237-BAFA-661B83772496}" dt="2024-06-06T14:59:30.741" v="893" actId="478"/>
          <ac:spMkLst>
            <pc:docMk/>
            <pc:sldMk cId="625183133" sldId="4986"/>
            <ac:spMk id="4" creationId="{1F8E1680-CC93-45A5-2045-A9447E648F11}"/>
          </ac:spMkLst>
        </pc:spChg>
        <pc:spChg chg="add del mod ord">
          <ac:chgData name="Elgee, Jeffrey (SPAC/PSPC)" userId="e10f0e9c-c03f-4fde-9113-11216b420c44" providerId="ADAL" clId="{8A22DB22-CE08-4237-BAFA-661B83772496}" dt="2024-06-06T14:59:34.250" v="894" actId="478"/>
          <ac:spMkLst>
            <pc:docMk/>
            <pc:sldMk cId="625183133" sldId="4986"/>
            <ac:spMk id="5" creationId="{8F31D059-5A65-4A74-FCD6-C364B418E5D7}"/>
          </ac:spMkLst>
        </pc:spChg>
      </pc:sldChg>
      <pc:sldChg chg="del">
        <pc:chgData name="Elgee, Jeffrey (SPAC/PSPC)" userId="e10f0e9c-c03f-4fde-9113-11216b420c44" providerId="ADAL" clId="{8A22DB22-CE08-4237-BAFA-661B83772496}" dt="2024-06-07T18:41:16.474" v="1784" actId="47"/>
        <pc:sldMkLst>
          <pc:docMk/>
          <pc:sldMk cId="2433718045" sldId="4989"/>
        </pc:sldMkLst>
      </pc:sldChg>
      <pc:sldChg chg="modSp mod modCm">
        <pc:chgData name="Elgee, Jeffrey (SPAC/PSPC)" userId="e10f0e9c-c03f-4fde-9113-11216b420c44" providerId="ADAL" clId="{8A22DB22-CE08-4237-BAFA-661B83772496}" dt="2024-06-12T14:02:37.622" v="3537" actId="13926"/>
        <pc:sldMkLst>
          <pc:docMk/>
          <pc:sldMk cId="3633628159" sldId="4991"/>
        </pc:sldMkLst>
        <pc:spChg chg="mod">
          <ac:chgData name="Elgee, Jeffrey (SPAC/PSPC)" userId="e10f0e9c-c03f-4fde-9113-11216b420c44" providerId="ADAL" clId="{8A22DB22-CE08-4237-BAFA-661B83772496}" dt="2024-06-12T14:02:37.622" v="3537" actId="13926"/>
          <ac:spMkLst>
            <pc:docMk/>
            <pc:sldMk cId="3633628159" sldId="4991"/>
            <ac:spMk id="3" creationId="{DCBEA1C2-5E98-4F88-5BBE-88BF7785297A}"/>
          </ac:spMkLst>
        </pc:spChg>
        <pc:spChg chg="mod">
          <ac:chgData name="Elgee, Jeffrey (SPAC/PSPC)" userId="e10f0e9c-c03f-4fde-9113-11216b420c44" providerId="ADAL" clId="{8A22DB22-CE08-4237-BAFA-661B83772496}" dt="2024-06-12T14:02:05.923" v="3505"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D2CE9BCC-9530-493F-BC3F-9D47F64F0084}"/>
              </pc2:cmMkLst>
            </pc226:cmChg>
          </p:ext>
        </pc:extLst>
      </pc:sldChg>
      <pc:sldChg chg="modSp mod">
        <pc:chgData name="Elgee, Jeffrey (SPAC/PSPC)" userId="e10f0e9c-c03f-4fde-9113-11216b420c44" providerId="ADAL" clId="{8A22DB22-CE08-4237-BAFA-661B83772496}" dt="2024-06-12T13:55:24.034" v="3402" actId="20577"/>
        <pc:sldMkLst>
          <pc:docMk/>
          <pc:sldMk cId="388099589" sldId="4992"/>
        </pc:sldMkLst>
        <pc:spChg chg="mod">
          <ac:chgData name="Elgee, Jeffrey (SPAC/PSPC)" userId="e10f0e9c-c03f-4fde-9113-11216b420c44" providerId="ADAL" clId="{8A22DB22-CE08-4237-BAFA-661B83772496}" dt="2024-06-12T13:55:24.034" v="3402" actId="20577"/>
          <ac:spMkLst>
            <pc:docMk/>
            <pc:sldMk cId="388099589" sldId="4992"/>
            <ac:spMk id="15" creationId="{2A224E51-C8E2-AF04-0A70-65F6548C9FA5}"/>
          </ac:spMkLst>
        </pc:spChg>
        <pc:spChg chg="mod">
          <ac:chgData name="Elgee, Jeffrey (SPAC/PSPC)" userId="e10f0e9c-c03f-4fde-9113-11216b420c44" providerId="ADAL" clId="{8A22DB22-CE08-4237-BAFA-661B83772496}" dt="2024-06-11T13:10:43.262" v="3171" actId="1036"/>
          <ac:spMkLst>
            <pc:docMk/>
            <pc:sldMk cId="388099589" sldId="4992"/>
            <ac:spMk id="16" creationId="{DDBAA832-5D5B-F155-4F32-06C89A6062D9}"/>
          </ac:spMkLst>
        </pc:spChg>
        <pc:spChg chg="mod">
          <ac:chgData name="Elgee, Jeffrey (SPAC/PSPC)" userId="e10f0e9c-c03f-4fde-9113-11216b420c44" providerId="ADAL" clId="{8A22DB22-CE08-4237-BAFA-661B83772496}" dt="2024-06-11T13:10:43.262" v="3171" actId="1036"/>
          <ac:spMkLst>
            <pc:docMk/>
            <pc:sldMk cId="388099589" sldId="4992"/>
            <ac:spMk id="17" creationId="{03D46260-31B6-3CBA-D6E4-2A34CD363B83}"/>
          </ac:spMkLst>
        </pc:spChg>
        <pc:spChg chg="mod">
          <ac:chgData name="Elgee, Jeffrey (SPAC/PSPC)" userId="e10f0e9c-c03f-4fde-9113-11216b420c44" providerId="ADAL" clId="{8A22DB22-CE08-4237-BAFA-661B83772496}" dt="2024-06-11T13:10:43.262" v="3171" actId="1036"/>
          <ac:spMkLst>
            <pc:docMk/>
            <pc:sldMk cId="388099589" sldId="4992"/>
            <ac:spMk id="18" creationId="{4EF912C3-D6D2-8ADB-9455-F0BB3EFD9484}"/>
          </ac:spMkLst>
        </pc:spChg>
        <pc:spChg chg="mod">
          <ac:chgData name="Elgee, Jeffrey (SPAC/PSPC)" userId="e10f0e9c-c03f-4fde-9113-11216b420c44" providerId="ADAL" clId="{8A22DB22-CE08-4237-BAFA-661B83772496}" dt="2024-06-11T13:10:43.262" v="3171" actId="1036"/>
          <ac:spMkLst>
            <pc:docMk/>
            <pc:sldMk cId="388099589" sldId="4992"/>
            <ac:spMk id="19" creationId="{5DABBC32-D0F2-5FB4-F32B-6ACB5C70FCBB}"/>
          </ac:spMkLst>
        </pc:spChg>
        <pc:picChg chg="mod">
          <ac:chgData name="Elgee, Jeffrey (SPAC/PSPC)" userId="e10f0e9c-c03f-4fde-9113-11216b420c44" providerId="ADAL" clId="{8A22DB22-CE08-4237-BAFA-661B83772496}" dt="2024-06-11T13:10:43.262" v="3171" actId="1036"/>
          <ac:picMkLst>
            <pc:docMk/>
            <pc:sldMk cId="388099589" sldId="4992"/>
            <ac:picMk id="9" creationId="{CFECC87B-723E-8826-6C4D-682E01302215}"/>
          </ac:picMkLst>
        </pc:picChg>
        <pc:picChg chg="mod">
          <ac:chgData name="Elgee, Jeffrey (SPAC/PSPC)" userId="e10f0e9c-c03f-4fde-9113-11216b420c44" providerId="ADAL" clId="{8A22DB22-CE08-4237-BAFA-661B83772496}" dt="2024-06-11T13:10:43.262" v="3171" actId="1036"/>
          <ac:picMkLst>
            <pc:docMk/>
            <pc:sldMk cId="388099589" sldId="4992"/>
            <ac:picMk id="10" creationId="{EE1B7117-FE8F-8104-AF1D-A9871CD54FDE}"/>
          </ac:picMkLst>
        </pc:picChg>
        <pc:picChg chg="mod">
          <ac:chgData name="Elgee, Jeffrey (SPAC/PSPC)" userId="e10f0e9c-c03f-4fde-9113-11216b420c44" providerId="ADAL" clId="{8A22DB22-CE08-4237-BAFA-661B83772496}" dt="2024-06-11T13:10:43.262" v="3171" actId="1036"/>
          <ac:picMkLst>
            <pc:docMk/>
            <pc:sldMk cId="388099589" sldId="4992"/>
            <ac:picMk id="11" creationId="{0A95C047-D6CC-A24A-9FFE-34EA9062B06B}"/>
          </ac:picMkLst>
        </pc:picChg>
        <pc:picChg chg="mod">
          <ac:chgData name="Elgee, Jeffrey (SPAC/PSPC)" userId="e10f0e9c-c03f-4fde-9113-11216b420c44" providerId="ADAL" clId="{8A22DB22-CE08-4237-BAFA-661B83772496}" dt="2024-06-11T13:10:43.262" v="3171" actId="1036"/>
          <ac:picMkLst>
            <pc:docMk/>
            <pc:sldMk cId="388099589" sldId="4992"/>
            <ac:picMk id="13" creationId="{1BFE9BF1-5E6A-A995-0D24-DB7A9C3633D8}"/>
          </ac:picMkLst>
        </pc:picChg>
      </pc:sldChg>
      <pc:sldChg chg="addSp delSp modSp mod">
        <pc:chgData name="Elgee, Jeffrey (SPAC/PSPC)" userId="e10f0e9c-c03f-4fde-9113-11216b420c44" providerId="ADAL" clId="{8A22DB22-CE08-4237-BAFA-661B83772496}" dt="2024-06-10T20:41:50.960" v="2847" actId="207"/>
        <pc:sldMkLst>
          <pc:docMk/>
          <pc:sldMk cId="3248544414" sldId="4993"/>
        </pc:sldMkLst>
        <pc:spChg chg="add mod">
          <ac:chgData name="Elgee, Jeffrey (SPAC/PSPC)" userId="e10f0e9c-c03f-4fde-9113-11216b420c44" providerId="ADAL" clId="{8A22DB22-CE08-4237-BAFA-661B83772496}" dt="2024-06-10T20:39:46.958" v="2840" actId="1076"/>
          <ac:spMkLst>
            <pc:docMk/>
            <pc:sldMk cId="3248544414" sldId="4993"/>
            <ac:spMk id="2" creationId="{614254A6-86DE-4A21-B094-C9AE8BEEF21A}"/>
          </ac:spMkLst>
        </pc:spChg>
        <pc:spChg chg="add del mod ord">
          <ac:chgData name="Elgee, Jeffrey (SPAC/PSPC)" userId="e10f0e9c-c03f-4fde-9113-11216b420c44" providerId="ADAL" clId="{8A22DB22-CE08-4237-BAFA-661B83772496}" dt="2024-06-10T20:32:44.711" v="2690" actId="478"/>
          <ac:spMkLst>
            <pc:docMk/>
            <pc:sldMk cId="3248544414" sldId="4993"/>
            <ac:spMk id="3" creationId="{F95CECA6-4A4E-156D-139A-E979F1D2ABB8}"/>
          </ac:spMkLst>
        </pc:spChg>
        <pc:spChg chg="add del mod ord">
          <ac:chgData name="Elgee, Jeffrey (SPAC/PSPC)" userId="e10f0e9c-c03f-4fde-9113-11216b420c44" providerId="ADAL" clId="{8A22DB22-CE08-4237-BAFA-661B83772496}" dt="2024-06-10T20:32:46.766" v="2691" actId="478"/>
          <ac:spMkLst>
            <pc:docMk/>
            <pc:sldMk cId="3248544414" sldId="4993"/>
            <ac:spMk id="4" creationId="{FB8393D0-540E-520F-3722-304A8B9E4A6E}"/>
          </ac:spMkLst>
        </pc:spChg>
        <pc:spChg chg="add mod ord">
          <ac:chgData name="Elgee, Jeffrey (SPAC/PSPC)" userId="e10f0e9c-c03f-4fde-9113-11216b420c44" providerId="ADAL" clId="{8A22DB22-CE08-4237-BAFA-661B83772496}" dt="2024-06-10T20:31:44.996" v="2687" actId="171"/>
          <ac:spMkLst>
            <pc:docMk/>
            <pc:sldMk cId="3248544414" sldId="4993"/>
            <ac:spMk id="7" creationId="{11FE5FBD-BEBD-50CC-7437-2E3DD1DE0A7B}"/>
          </ac:spMkLst>
        </pc:spChg>
        <pc:spChg chg="add mod">
          <ac:chgData name="Elgee, Jeffrey (SPAC/PSPC)" userId="e10f0e9c-c03f-4fde-9113-11216b420c44" providerId="ADAL" clId="{8A22DB22-CE08-4237-BAFA-661B83772496}" dt="2024-06-10T20:39:10.958" v="2839" actId="1076"/>
          <ac:spMkLst>
            <pc:docMk/>
            <pc:sldMk cId="3248544414" sldId="4993"/>
            <ac:spMk id="10" creationId="{2EA7841F-B628-5763-87F4-5C2C97873218}"/>
          </ac:spMkLst>
        </pc:spChg>
        <pc:spChg chg="add mod">
          <ac:chgData name="Elgee, Jeffrey (SPAC/PSPC)" userId="e10f0e9c-c03f-4fde-9113-11216b420c44" providerId="ADAL" clId="{8A22DB22-CE08-4237-BAFA-661B83772496}" dt="2024-06-10T20:41:50.960" v="2847" actId="207"/>
          <ac:spMkLst>
            <pc:docMk/>
            <pc:sldMk cId="3248544414" sldId="4993"/>
            <ac:spMk id="13" creationId="{F4B3BF70-A09E-2CC1-D775-70C144DE22D1}"/>
          </ac:spMkLst>
        </pc:spChg>
        <pc:spChg chg="add mod">
          <ac:chgData name="Elgee, Jeffrey (SPAC/PSPC)" userId="e10f0e9c-c03f-4fde-9113-11216b420c44" providerId="ADAL" clId="{8A22DB22-CE08-4237-BAFA-661B83772496}" dt="2024-06-10T20:35:05.905" v="2702" actId="207"/>
          <ac:spMkLst>
            <pc:docMk/>
            <pc:sldMk cId="3248544414" sldId="4993"/>
            <ac:spMk id="14" creationId="{705E2902-213A-038E-CD60-7DF9BC6FF44E}"/>
          </ac:spMkLst>
        </pc:spChg>
        <pc:spChg chg="add del mod">
          <ac:chgData name="Elgee, Jeffrey (SPAC/PSPC)" userId="e10f0e9c-c03f-4fde-9113-11216b420c44" providerId="ADAL" clId="{8A22DB22-CE08-4237-BAFA-661B83772496}" dt="2024-06-10T20:36:12.027" v="2753"/>
          <ac:spMkLst>
            <pc:docMk/>
            <pc:sldMk cId="3248544414" sldId="4993"/>
            <ac:spMk id="15" creationId="{E5B14897-622A-D654-EBCD-A229EBDDE60C}"/>
          </ac:spMkLst>
        </pc:spChg>
        <pc:cxnChg chg="add del mod">
          <ac:chgData name="Elgee, Jeffrey (SPAC/PSPC)" userId="e10f0e9c-c03f-4fde-9113-11216b420c44" providerId="ADAL" clId="{8A22DB22-CE08-4237-BAFA-661B83772496}" dt="2024-06-10T20:31:39.056" v="2684" actId="478"/>
          <ac:cxnSpMkLst>
            <pc:docMk/>
            <pc:sldMk cId="3248544414" sldId="4993"/>
            <ac:cxnSpMk id="6" creationId="{4A0C8D12-0286-58EA-F2E2-B65FA972559B}"/>
          </ac:cxnSpMkLst>
        </pc:cxnChg>
      </pc:sldChg>
      <pc:sldChg chg="addSp modSp mod">
        <pc:chgData name="Elgee, Jeffrey (SPAC/PSPC)" userId="e10f0e9c-c03f-4fde-9113-11216b420c44" providerId="ADAL" clId="{8A22DB22-CE08-4237-BAFA-661B83772496}" dt="2024-06-11T12:56:55.173" v="2851" actId="1076"/>
        <pc:sldMkLst>
          <pc:docMk/>
          <pc:sldMk cId="2239565128" sldId="4994"/>
        </pc:sldMkLst>
        <pc:spChg chg="mod">
          <ac:chgData name="Elgee, Jeffrey (SPAC/PSPC)" userId="e10f0e9c-c03f-4fde-9113-11216b420c44" providerId="ADAL" clId="{8A22DB22-CE08-4237-BAFA-661B83772496}" dt="2024-06-10T20:41:57.616" v="2848" actId="1076"/>
          <ac:spMkLst>
            <pc:docMk/>
            <pc:sldMk cId="2239565128" sldId="4994"/>
            <ac:spMk id="3" creationId="{1CEF9E92-F5EA-929E-089A-77CB316CD4E6}"/>
          </ac:spMkLst>
        </pc:spChg>
        <pc:spChg chg="add mod">
          <ac:chgData name="Elgee, Jeffrey (SPAC/PSPC)" userId="e10f0e9c-c03f-4fde-9113-11216b420c44" providerId="ADAL" clId="{8A22DB22-CE08-4237-BAFA-661B83772496}" dt="2024-06-10T20:39:56.956" v="2841"/>
          <ac:spMkLst>
            <pc:docMk/>
            <pc:sldMk cId="2239565128" sldId="4994"/>
            <ac:spMk id="5" creationId="{0DB8AB1F-8B9B-4496-7C93-FAF0EC2E698C}"/>
          </ac:spMkLst>
        </pc:spChg>
        <pc:spChg chg="add mod">
          <ac:chgData name="Elgee, Jeffrey (SPAC/PSPC)" userId="e10f0e9c-c03f-4fde-9113-11216b420c44" providerId="ADAL" clId="{8A22DB22-CE08-4237-BAFA-661B83772496}" dt="2024-06-10T20:39:56.956" v="2841"/>
          <ac:spMkLst>
            <pc:docMk/>
            <pc:sldMk cId="2239565128" sldId="4994"/>
            <ac:spMk id="6" creationId="{F715877D-604B-5BB3-35EB-0768F76A7262}"/>
          </ac:spMkLst>
        </pc:spChg>
        <pc:spChg chg="add mod">
          <ac:chgData name="Elgee, Jeffrey (SPAC/PSPC)" userId="e10f0e9c-c03f-4fde-9113-11216b420c44" providerId="ADAL" clId="{8A22DB22-CE08-4237-BAFA-661B83772496}" dt="2024-06-10T20:40:53.119" v="2844" actId="207"/>
          <ac:spMkLst>
            <pc:docMk/>
            <pc:sldMk cId="2239565128" sldId="4994"/>
            <ac:spMk id="7" creationId="{65BCB892-EF0D-A743-67D4-7E90660123AE}"/>
          </ac:spMkLst>
        </pc:spChg>
        <pc:spChg chg="mod">
          <ac:chgData name="Elgee, Jeffrey (SPAC/PSPC)" userId="e10f0e9c-c03f-4fde-9113-11216b420c44" providerId="ADAL" clId="{8A22DB22-CE08-4237-BAFA-661B83772496}" dt="2024-06-11T12:56:50.081" v="2850" actId="1076"/>
          <ac:spMkLst>
            <pc:docMk/>
            <pc:sldMk cId="2239565128" sldId="4994"/>
            <ac:spMk id="8" creationId="{D1BB5A4D-1910-BA41-710E-649A068A1729}"/>
          </ac:spMkLst>
        </pc:spChg>
        <pc:spChg chg="add mod">
          <ac:chgData name="Elgee, Jeffrey (SPAC/PSPC)" userId="e10f0e9c-c03f-4fde-9113-11216b420c44" providerId="ADAL" clId="{8A22DB22-CE08-4237-BAFA-661B83772496}" dt="2024-06-10T20:39:56.956" v="2841"/>
          <ac:spMkLst>
            <pc:docMk/>
            <pc:sldMk cId="2239565128" sldId="4994"/>
            <ac:spMk id="9" creationId="{2DD825DD-EDA7-D393-CBBC-F70A3613D025}"/>
          </ac:spMkLst>
        </pc:spChg>
        <pc:picChg chg="mod">
          <ac:chgData name="Elgee, Jeffrey (SPAC/PSPC)" userId="e10f0e9c-c03f-4fde-9113-11216b420c44" providerId="ADAL" clId="{8A22DB22-CE08-4237-BAFA-661B83772496}" dt="2024-06-11T12:56:55.173" v="2851" actId="1076"/>
          <ac:picMkLst>
            <pc:docMk/>
            <pc:sldMk cId="2239565128" sldId="4994"/>
            <ac:picMk id="10" creationId="{649C34E2-70D1-0A87-6777-DB0F9299F57D}"/>
          </ac:picMkLst>
        </pc:picChg>
      </pc:sldChg>
      <pc:sldChg chg="addSp modSp mod">
        <pc:chgData name="Elgee, Jeffrey (SPAC/PSPC)" userId="e10f0e9c-c03f-4fde-9113-11216b420c44" providerId="ADAL" clId="{8A22DB22-CE08-4237-BAFA-661B83772496}" dt="2024-06-11T12:57:29.387" v="2855" actId="1076"/>
        <pc:sldMkLst>
          <pc:docMk/>
          <pc:sldMk cId="4226407642" sldId="4995"/>
        </pc:sldMkLst>
        <pc:spChg chg="mod">
          <ac:chgData name="Elgee, Jeffrey (SPAC/PSPC)" userId="e10f0e9c-c03f-4fde-9113-11216b420c44" providerId="ADAL" clId="{8A22DB22-CE08-4237-BAFA-661B83772496}" dt="2024-06-10T20:42:09.785" v="2849" actId="1076"/>
          <ac:spMkLst>
            <pc:docMk/>
            <pc:sldMk cId="4226407642" sldId="4995"/>
            <ac:spMk id="4" creationId="{7A3D9691-2EF5-8BFD-F0A0-97FB021A1A74}"/>
          </ac:spMkLst>
        </pc:spChg>
        <pc:spChg chg="add mod">
          <ac:chgData name="Elgee, Jeffrey (SPAC/PSPC)" userId="e10f0e9c-c03f-4fde-9113-11216b420c44" providerId="ADAL" clId="{8A22DB22-CE08-4237-BAFA-661B83772496}" dt="2024-06-10T20:40:04.357" v="2842"/>
          <ac:spMkLst>
            <pc:docMk/>
            <pc:sldMk cId="4226407642" sldId="4995"/>
            <ac:spMk id="5" creationId="{3AF382B0-CF9B-A225-DAC3-91E4DC739F0E}"/>
          </ac:spMkLst>
        </pc:spChg>
        <pc:spChg chg="add mod">
          <ac:chgData name="Elgee, Jeffrey (SPAC/PSPC)" userId="e10f0e9c-c03f-4fde-9113-11216b420c44" providerId="ADAL" clId="{8A22DB22-CE08-4237-BAFA-661B83772496}" dt="2024-06-10T20:40:04.357" v="2842"/>
          <ac:spMkLst>
            <pc:docMk/>
            <pc:sldMk cId="4226407642" sldId="4995"/>
            <ac:spMk id="6" creationId="{36B4E3C3-6632-BA27-182C-1B25B7AEF54E}"/>
          </ac:spMkLst>
        </pc:spChg>
        <pc:spChg chg="add mod">
          <ac:chgData name="Elgee, Jeffrey (SPAC/PSPC)" userId="e10f0e9c-c03f-4fde-9113-11216b420c44" providerId="ADAL" clId="{8A22DB22-CE08-4237-BAFA-661B83772496}" dt="2024-06-10T20:41:03.414" v="2845" actId="207"/>
          <ac:spMkLst>
            <pc:docMk/>
            <pc:sldMk cId="4226407642" sldId="4995"/>
            <ac:spMk id="7" creationId="{33AF2F1C-BD54-D8B3-1754-2F72DB1B66B5}"/>
          </ac:spMkLst>
        </pc:spChg>
        <pc:spChg chg="mod">
          <ac:chgData name="Elgee, Jeffrey (SPAC/PSPC)" userId="e10f0e9c-c03f-4fde-9113-11216b420c44" providerId="ADAL" clId="{8A22DB22-CE08-4237-BAFA-661B83772496}" dt="2024-06-11T12:57:25.125" v="2854" actId="1076"/>
          <ac:spMkLst>
            <pc:docMk/>
            <pc:sldMk cId="4226407642" sldId="4995"/>
            <ac:spMk id="8" creationId="{A9FC7316-1608-7A0F-764B-4353EE47E850}"/>
          </ac:spMkLst>
        </pc:spChg>
        <pc:spChg chg="mod">
          <ac:chgData name="Elgee, Jeffrey (SPAC/PSPC)" userId="e10f0e9c-c03f-4fde-9113-11216b420c44" providerId="ADAL" clId="{8A22DB22-CE08-4237-BAFA-661B83772496}" dt="2024-06-11T12:57:11.237" v="2852" actId="1076"/>
          <ac:spMkLst>
            <pc:docMk/>
            <pc:sldMk cId="4226407642" sldId="4995"/>
            <ac:spMk id="9" creationId="{124B1481-76CC-FA32-D369-30B4187EED5E}"/>
          </ac:spMkLst>
        </pc:spChg>
        <pc:spChg chg="add mod">
          <ac:chgData name="Elgee, Jeffrey (SPAC/PSPC)" userId="e10f0e9c-c03f-4fde-9113-11216b420c44" providerId="ADAL" clId="{8A22DB22-CE08-4237-BAFA-661B83772496}" dt="2024-06-10T20:40:04.357" v="2842"/>
          <ac:spMkLst>
            <pc:docMk/>
            <pc:sldMk cId="4226407642" sldId="4995"/>
            <ac:spMk id="10" creationId="{2984CE5A-C990-A28E-2791-EDDE1CF47789}"/>
          </ac:spMkLst>
        </pc:spChg>
        <pc:picChg chg="mod">
          <ac:chgData name="Elgee, Jeffrey (SPAC/PSPC)" userId="e10f0e9c-c03f-4fde-9113-11216b420c44" providerId="ADAL" clId="{8A22DB22-CE08-4237-BAFA-661B83772496}" dt="2024-06-11T12:57:29.387" v="2855" actId="1076"/>
          <ac:picMkLst>
            <pc:docMk/>
            <pc:sldMk cId="4226407642" sldId="4995"/>
            <ac:picMk id="2" creationId="{03259ACC-662B-55A1-3304-5078DC7A15E1}"/>
          </ac:picMkLst>
        </pc:picChg>
        <pc:picChg chg="mod">
          <ac:chgData name="Elgee, Jeffrey (SPAC/PSPC)" userId="e10f0e9c-c03f-4fde-9113-11216b420c44" providerId="ADAL" clId="{8A22DB22-CE08-4237-BAFA-661B83772496}" dt="2024-06-11T12:57:14.455" v="2853" actId="1076"/>
          <ac:picMkLst>
            <pc:docMk/>
            <pc:sldMk cId="4226407642" sldId="4995"/>
            <ac:picMk id="3" creationId="{BB42B956-14DC-C5BC-5D9D-A8B3CC1EC9A0}"/>
          </ac:picMkLst>
        </pc:picChg>
      </pc:sldChg>
      <pc:sldChg chg="addSp modSp mod">
        <pc:chgData name="Elgee, Jeffrey (SPAC/PSPC)" userId="e10f0e9c-c03f-4fde-9113-11216b420c44" providerId="ADAL" clId="{8A22DB22-CE08-4237-BAFA-661B83772496}" dt="2024-06-10T20:41:41.220" v="2846" actId="207"/>
        <pc:sldMkLst>
          <pc:docMk/>
          <pc:sldMk cId="502785453" sldId="4996"/>
        </pc:sldMkLst>
        <pc:spChg chg="add mod">
          <ac:chgData name="Elgee, Jeffrey (SPAC/PSPC)" userId="e10f0e9c-c03f-4fde-9113-11216b420c44" providerId="ADAL" clId="{8A22DB22-CE08-4237-BAFA-661B83772496}" dt="2024-06-10T20:40:07.098" v="2843"/>
          <ac:spMkLst>
            <pc:docMk/>
            <pc:sldMk cId="502785453" sldId="4996"/>
            <ac:spMk id="6" creationId="{EF091605-F6FC-7D7E-D89A-A8AEA2E1B592}"/>
          </ac:spMkLst>
        </pc:spChg>
        <pc:spChg chg="add mod">
          <ac:chgData name="Elgee, Jeffrey (SPAC/PSPC)" userId="e10f0e9c-c03f-4fde-9113-11216b420c44" providerId="ADAL" clId="{8A22DB22-CE08-4237-BAFA-661B83772496}" dt="2024-06-10T20:40:07.098" v="2843"/>
          <ac:spMkLst>
            <pc:docMk/>
            <pc:sldMk cId="502785453" sldId="4996"/>
            <ac:spMk id="8" creationId="{5511E82C-3A1B-BF95-28C3-77F1A9151DD2}"/>
          </ac:spMkLst>
        </pc:spChg>
        <pc:spChg chg="add mod">
          <ac:chgData name="Elgee, Jeffrey (SPAC/PSPC)" userId="e10f0e9c-c03f-4fde-9113-11216b420c44" providerId="ADAL" clId="{8A22DB22-CE08-4237-BAFA-661B83772496}" dt="2024-06-10T20:41:41.220" v="2846" actId="207"/>
          <ac:spMkLst>
            <pc:docMk/>
            <pc:sldMk cId="502785453" sldId="4996"/>
            <ac:spMk id="9" creationId="{E3BE9AD9-A9C4-4B02-2972-9BDFAE350BBA}"/>
          </ac:spMkLst>
        </pc:spChg>
        <pc:spChg chg="add mod">
          <ac:chgData name="Elgee, Jeffrey (SPAC/PSPC)" userId="e10f0e9c-c03f-4fde-9113-11216b420c44" providerId="ADAL" clId="{8A22DB22-CE08-4237-BAFA-661B83772496}" dt="2024-06-10T20:40:07.098" v="2843"/>
          <ac:spMkLst>
            <pc:docMk/>
            <pc:sldMk cId="502785453" sldId="4996"/>
            <ac:spMk id="10" creationId="{B643013A-181B-E5F1-52DA-14D2C58B2195}"/>
          </ac:spMkLst>
        </pc:spChg>
      </pc:sldChg>
      <pc:sldChg chg="addSp delSp modSp mod modClrScheme chgLayout modNotesTx">
        <pc:chgData name="Elgee, Jeffrey (SPAC/PSPC)" userId="e10f0e9c-c03f-4fde-9113-11216b420c44" providerId="ADAL" clId="{8A22DB22-CE08-4237-BAFA-661B83772496}" dt="2024-06-06T14:58:20.767" v="888" actId="1076"/>
        <pc:sldMkLst>
          <pc:docMk/>
          <pc:sldMk cId="581567723" sldId="4998"/>
        </pc:sldMkLst>
        <pc:spChg chg="mod ord">
          <ac:chgData name="Elgee, Jeffrey (SPAC/PSPC)" userId="e10f0e9c-c03f-4fde-9113-11216b420c44" providerId="ADAL" clId="{8A22DB22-CE08-4237-BAFA-661B83772496}" dt="2024-06-06T14:57:04.339" v="880" actId="700"/>
          <ac:spMkLst>
            <pc:docMk/>
            <pc:sldMk cId="581567723" sldId="4998"/>
            <ac:spMk id="2" creationId="{9DE119AA-C27C-1F93-8533-D6E1F56A43A8}"/>
          </ac:spMkLst>
        </pc:spChg>
        <pc:spChg chg="del mod">
          <ac:chgData name="Elgee, Jeffrey (SPAC/PSPC)" userId="e10f0e9c-c03f-4fde-9113-11216b420c44" providerId="ADAL" clId="{8A22DB22-CE08-4237-BAFA-661B83772496}" dt="2024-06-06T14:58:05.127" v="887"/>
          <ac:spMkLst>
            <pc:docMk/>
            <pc:sldMk cId="581567723" sldId="4998"/>
            <ac:spMk id="3" creationId="{DCB1C657-83E0-7559-CD35-A0F89A43A85C}"/>
          </ac:spMkLst>
        </pc:spChg>
        <pc:spChg chg="add del mod ord">
          <ac:chgData name="Elgee, Jeffrey (SPAC/PSPC)" userId="e10f0e9c-c03f-4fde-9113-11216b420c44" providerId="ADAL" clId="{8A22DB22-CE08-4237-BAFA-661B83772496}" dt="2024-06-06T14:57:12.019" v="881" actId="478"/>
          <ac:spMkLst>
            <pc:docMk/>
            <pc:sldMk cId="581567723" sldId="4998"/>
            <ac:spMk id="4" creationId="{D9038F16-74AC-2AF2-5842-E77D8764AB97}"/>
          </ac:spMkLst>
        </pc:spChg>
        <pc:spChg chg="add del mod ord">
          <ac:chgData name="Elgee, Jeffrey (SPAC/PSPC)" userId="e10f0e9c-c03f-4fde-9113-11216b420c44" providerId="ADAL" clId="{8A22DB22-CE08-4237-BAFA-661B83772496}" dt="2024-06-06T14:57:15.099" v="882" actId="478"/>
          <ac:spMkLst>
            <pc:docMk/>
            <pc:sldMk cId="581567723" sldId="4998"/>
            <ac:spMk id="5" creationId="{83821B7C-6CE3-92A9-A74D-938185BBD8A4}"/>
          </ac:spMkLst>
        </pc:spChg>
        <pc:spChg chg="mod">
          <ac:chgData name="Elgee, Jeffrey (SPAC/PSPC)" userId="e10f0e9c-c03f-4fde-9113-11216b420c44" providerId="ADAL" clId="{8A22DB22-CE08-4237-BAFA-661B83772496}" dt="2024-06-06T13:38:13.865" v="309" actId="1035"/>
          <ac:spMkLst>
            <pc:docMk/>
            <pc:sldMk cId="581567723" sldId="4998"/>
            <ac:spMk id="115" creationId="{99B313E4-68F8-0E05-784F-777B53C53AD8}"/>
          </ac:spMkLst>
        </pc:spChg>
        <pc:spChg chg="mod">
          <ac:chgData name="Elgee, Jeffrey (SPAC/PSPC)" userId="e10f0e9c-c03f-4fde-9113-11216b420c44" providerId="ADAL" clId="{8A22DB22-CE08-4237-BAFA-661B83772496}" dt="2024-06-06T14:58:20.767" v="888" actId="1076"/>
          <ac:spMkLst>
            <pc:docMk/>
            <pc:sldMk cId="581567723" sldId="4998"/>
            <ac:spMk id="116" creationId="{D977104C-37CA-F758-7243-30B07DD8013A}"/>
          </ac:spMkLst>
        </pc:spChg>
        <pc:spChg chg="mod">
          <ac:chgData name="Elgee, Jeffrey (SPAC/PSPC)" userId="e10f0e9c-c03f-4fde-9113-11216b420c44" providerId="ADAL" clId="{8A22DB22-CE08-4237-BAFA-661B83772496}" dt="2024-06-06T13:39:39.642" v="372" actId="113"/>
          <ac:spMkLst>
            <pc:docMk/>
            <pc:sldMk cId="581567723" sldId="4998"/>
            <ac:spMk id="117" creationId="{C9DAC2A6-C89F-2DC3-5552-32890189A83F}"/>
          </ac:spMkLst>
        </pc:spChg>
        <pc:spChg chg="mod">
          <ac:chgData name="Elgee, Jeffrey (SPAC/PSPC)" userId="e10f0e9c-c03f-4fde-9113-11216b420c44" providerId="ADAL" clId="{8A22DB22-CE08-4237-BAFA-661B83772496}" dt="2024-06-06T13:39:55.051" v="374" actId="13926"/>
          <ac:spMkLst>
            <pc:docMk/>
            <pc:sldMk cId="581567723" sldId="4998"/>
            <ac:spMk id="118" creationId="{03606830-0145-BF89-5080-5EDD4851A9CA}"/>
          </ac:spMkLst>
        </pc:spChg>
        <pc:spChg chg="mod">
          <ac:chgData name="Elgee, Jeffrey (SPAC/PSPC)" userId="e10f0e9c-c03f-4fde-9113-11216b420c44" providerId="ADAL" clId="{8A22DB22-CE08-4237-BAFA-661B83772496}" dt="2024-06-06T13:40:22.881" v="396" actId="207"/>
          <ac:spMkLst>
            <pc:docMk/>
            <pc:sldMk cId="581567723" sldId="4998"/>
            <ac:spMk id="122" creationId="{A9D90BF1-5FA9-70F0-2114-74B647F61343}"/>
          </ac:spMkLst>
        </pc:spChg>
        <pc:spChg chg="mod">
          <ac:chgData name="Elgee, Jeffrey (SPAC/PSPC)" userId="e10f0e9c-c03f-4fde-9113-11216b420c44" providerId="ADAL" clId="{8A22DB22-CE08-4237-BAFA-661B83772496}" dt="2024-06-06T13:44:24.991" v="418" actId="207"/>
          <ac:spMkLst>
            <pc:docMk/>
            <pc:sldMk cId="581567723" sldId="4998"/>
            <ac:spMk id="123" creationId="{96958ADE-A4CF-B97E-6CC3-E67FA3D6703E}"/>
          </ac:spMkLst>
        </pc:spChg>
        <pc:spChg chg="del mod">
          <ac:chgData name="Elgee, Jeffrey (SPAC/PSPC)" userId="e10f0e9c-c03f-4fde-9113-11216b420c44" providerId="ADAL" clId="{8A22DB22-CE08-4237-BAFA-661B83772496}" dt="2024-06-06T13:37:51.723" v="288" actId="478"/>
          <ac:spMkLst>
            <pc:docMk/>
            <pc:sldMk cId="581567723" sldId="4998"/>
            <ac:spMk id="124" creationId="{D42E50EC-09BD-1D9A-3AA5-B3779C9D68F8}"/>
          </ac:spMkLst>
        </pc:spChg>
        <pc:spChg chg="mod">
          <ac:chgData name="Elgee, Jeffrey (SPAC/PSPC)" userId="e10f0e9c-c03f-4fde-9113-11216b420c44" providerId="ADAL" clId="{8A22DB22-CE08-4237-BAFA-661B83772496}" dt="2024-06-06T13:41:40.064" v="402" actId="13926"/>
          <ac:spMkLst>
            <pc:docMk/>
            <pc:sldMk cId="581567723" sldId="4998"/>
            <ac:spMk id="125" creationId="{C3A1B379-6571-1C49-58FA-89CBE354E722}"/>
          </ac:spMkLst>
        </pc:spChg>
        <pc:spChg chg="mod">
          <ac:chgData name="Elgee, Jeffrey (SPAC/PSPC)" userId="e10f0e9c-c03f-4fde-9113-11216b420c44" providerId="ADAL" clId="{8A22DB22-CE08-4237-BAFA-661B83772496}" dt="2024-06-06T13:44:07.841" v="416" actId="207"/>
          <ac:spMkLst>
            <pc:docMk/>
            <pc:sldMk cId="581567723" sldId="4998"/>
            <ac:spMk id="126" creationId="{1D166D08-6E2D-80DD-6808-092F6378AC03}"/>
          </ac:spMkLst>
        </pc:spChg>
        <pc:spChg chg="del">
          <ac:chgData name="Elgee, Jeffrey (SPAC/PSPC)" userId="e10f0e9c-c03f-4fde-9113-11216b420c44" providerId="ADAL" clId="{8A22DB22-CE08-4237-BAFA-661B83772496}" dt="2024-06-06T13:38:18.968" v="310" actId="478"/>
          <ac:spMkLst>
            <pc:docMk/>
            <pc:sldMk cId="581567723" sldId="4998"/>
            <ac:spMk id="127" creationId="{66533980-1485-F682-A323-EED21142DA01}"/>
          </ac:spMkLst>
        </pc:spChg>
        <pc:spChg chg="mod">
          <ac:chgData name="Elgee, Jeffrey (SPAC/PSPC)" userId="e10f0e9c-c03f-4fde-9113-11216b420c44" providerId="ADAL" clId="{8A22DB22-CE08-4237-BAFA-661B83772496}" dt="2024-06-06T13:38:13.865" v="309" actId="1035"/>
          <ac:spMkLst>
            <pc:docMk/>
            <pc:sldMk cId="581567723" sldId="4998"/>
            <ac:spMk id="130" creationId="{37927CF3-81AF-9EC4-5FAE-0F465D84F953}"/>
          </ac:spMkLst>
        </pc:spChg>
        <pc:spChg chg="mod">
          <ac:chgData name="Elgee, Jeffrey (SPAC/PSPC)" userId="e10f0e9c-c03f-4fde-9113-11216b420c44" providerId="ADAL" clId="{8A22DB22-CE08-4237-BAFA-661B83772496}" dt="2024-06-06T13:38:29.918" v="327" actId="1035"/>
          <ac:spMkLst>
            <pc:docMk/>
            <pc:sldMk cId="581567723" sldId="4998"/>
            <ac:spMk id="131" creationId="{F71F5B42-71A6-85F9-508A-7ED7FF32727F}"/>
          </ac:spMkLst>
        </pc:spChg>
        <pc:spChg chg="mod">
          <ac:chgData name="Elgee, Jeffrey (SPAC/PSPC)" userId="e10f0e9c-c03f-4fde-9113-11216b420c44" providerId="ADAL" clId="{8A22DB22-CE08-4237-BAFA-661B83772496}" dt="2024-06-06T13:38:29.918" v="327" actId="1035"/>
          <ac:spMkLst>
            <pc:docMk/>
            <pc:sldMk cId="581567723" sldId="4998"/>
            <ac:spMk id="132" creationId="{972E62F7-856E-E74B-98EE-589692A22E88}"/>
          </ac:spMkLst>
        </pc:spChg>
        <pc:grpChg chg="mod">
          <ac:chgData name="Elgee, Jeffrey (SPAC/PSPC)" userId="e10f0e9c-c03f-4fde-9113-11216b420c44" providerId="ADAL" clId="{8A22DB22-CE08-4237-BAFA-661B83772496}" dt="2024-06-06T13:38:29.918" v="327" actId="1035"/>
          <ac:grpSpMkLst>
            <pc:docMk/>
            <pc:sldMk cId="581567723" sldId="4998"/>
            <ac:grpSpMk id="135" creationId="{DFC4213B-24A7-04FD-6312-18CA7ABB7C6D}"/>
          </ac:grpSpMkLst>
        </pc:grpChg>
        <pc:picChg chg="mod">
          <ac:chgData name="Elgee, Jeffrey (SPAC/PSPC)" userId="e10f0e9c-c03f-4fde-9113-11216b420c44" providerId="ADAL" clId="{8A22DB22-CE08-4237-BAFA-661B83772496}" dt="2024-06-06T13:38:13.865" v="309" actId="1035"/>
          <ac:picMkLst>
            <pc:docMk/>
            <pc:sldMk cId="581567723" sldId="4998"/>
            <ac:picMk id="128" creationId="{72D7B425-467D-E300-99B1-FF1BD469BAA8}"/>
          </ac:picMkLst>
        </pc:picChg>
        <pc:picChg chg="mod">
          <ac:chgData name="Elgee, Jeffrey (SPAC/PSPC)" userId="e10f0e9c-c03f-4fde-9113-11216b420c44" providerId="ADAL" clId="{8A22DB22-CE08-4237-BAFA-661B83772496}" dt="2024-06-06T13:38:13.865" v="309" actId="1035"/>
          <ac:picMkLst>
            <pc:docMk/>
            <pc:sldMk cId="581567723" sldId="4998"/>
            <ac:picMk id="129" creationId="{E625BF06-9D3F-0649-97EF-1BA8A59764D7}"/>
          </ac:picMkLst>
        </pc:picChg>
        <pc:picChg chg="mod">
          <ac:chgData name="Elgee, Jeffrey (SPAC/PSPC)" userId="e10f0e9c-c03f-4fde-9113-11216b420c44" providerId="ADAL" clId="{8A22DB22-CE08-4237-BAFA-661B83772496}" dt="2024-06-06T13:38:29.918" v="327" actId="1035"/>
          <ac:picMkLst>
            <pc:docMk/>
            <pc:sldMk cId="581567723" sldId="4998"/>
            <ac:picMk id="133" creationId="{2C4D393D-1B54-98F0-19F7-D0F7CB3EDE01}"/>
          </ac:picMkLst>
        </pc:picChg>
        <pc:picChg chg="mod">
          <ac:chgData name="Elgee, Jeffrey (SPAC/PSPC)" userId="e10f0e9c-c03f-4fde-9113-11216b420c44" providerId="ADAL" clId="{8A22DB22-CE08-4237-BAFA-661B83772496}" dt="2024-06-06T13:38:29.918" v="327" actId="1035"/>
          <ac:picMkLst>
            <pc:docMk/>
            <pc:sldMk cId="581567723" sldId="4998"/>
            <ac:picMk id="134" creationId="{5BE65366-221B-6F0C-7BDE-1611F267E4E8}"/>
          </ac:picMkLst>
        </pc:picChg>
      </pc:sldChg>
      <pc:sldChg chg="modSp mod modShow">
        <pc:chgData name="Elgee, Jeffrey (SPAC/PSPC)" userId="e10f0e9c-c03f-4fde-9113-11216b420c44" providerId="ADAL" clId="{8A22DB22-CE08-4237-BAFA-661B83772496}" dt="2024-06-06T18:56:21.103" v="1500" actId="729"/>
        <pc:sldMkLst>
          <pc:docMk/>
          <pc:sldMk cId="1252285508" sldId="4999"/>
        </pc:sldMkLst>
        <pc:spChg chg="mod">
          <ac:chgData name="Elgee, Jeffrey (SPAC/PSPC)" userId="e10f0e9c-c03f-4fde-9113-11216b420c44" providerId="ADAL" clId="{8A22DB22-CE08-4237-BAFA-661B83772496}" dt="2024-06-06T18:55:34.666" v="1452" actId="1076"/>
          <ac:spMkLst>
            <pc:docMk/>
            <pc:sldMk cId="1252285508" sldId="4999"/>
            <ac:spMk id="2" creationId="{28BA11C7-FE93-B38C-0C87-7C03934B328B}"/>
          </ac:spMkLst>
        </pc:spChg>
      </pc:sldChg>
      <pc:sldChg chg="addSp delSp modSp mod modClrScheme modCm chgLayout">
        <pc:chgData name="Elgee, Jeffrey (SPAC/PSPC)" userId="e10f0e9c-c03f-4fde-9113-11216b420c44" providerId="ADAL" clId="{8A22DB22-CE08-4237-BAFA-661B83772496}" dt="2024-06-11T14:21:12.428" v="3172"/>
        <pc:sldMkLst>
          <pc:docMk/>
          <pc:sldMk cId="3194185217" sldId="5000"/>
        </pc:sldMkLst>
        <pc:spChg chg="mod ord">
          <ac:chgData name="Elgee, Jeffrey (SPAC/PSPC)" userId="e10f0e9c-c03f-4fde-9113-11216b420c44" providerId="ADAL" clId="{8A22DB22-CE08-4237-BAFA-661B83772496}" dt="2024-06-06T14:58:35.103" v="889" actId="700"/>
          <ac:spMkLst>
            <pc:docMk/>
            <pc:sldMk cId="3194185217" sldId="5000"/>
            <ac:spMk id="2" creationId="{2828F65A-808D-02D2-738B-A7C5CC9FA5CA}"/>
          </ac:spMkLst>
        </pc:spChg>
        <pc:spChg chg="add del mod">
          <ac:chgData name="Elgee, Jeffrey (SPAC/PSPC)" userId="e10f0e9c-c03f-4fde-9113-11216b420c44" providerId="ADAL" clId="{8A22DB22-CE08-4237-BAFA-661B83772496}" dt="2024-06-05T18:31:55.520" v="12" actId="478"/>
          <ac:spMkLst>
            <pc:docMk/>
            <pc:sldMk cId="3194185217" sldId="5000"/>
            <ac:spMk id="4" creationId="{EACF6E99-E03B-249D-6409-F08A0612D72C}"/>
          </ac:spMkLst>
        </pc:spChg>
        <pc:spChg chg="mod">
          <ac:chgData name="Elgee, Jeffrey (SPAC/PSPC)" userId="e10f0e9c-c03f-4fde-9113-11216b420c44" providerId="ADAL" clId="{8A22DB22-CE08-4237-BAFA-661B83772496}" dt="2024-06-05T19:11:51.330" v="76" actId="1076"/>
          <ac:spMkLst>
            <pc:docMk/>
            <pc:sldMk cId="3194185217" sldId="5000"/>
            <ac:spMk id="5" creationId="{022AD1F7-CC8C-3292-5DCC-261E346D205F}"/>
          </ac:spMkLst>
        </pc:spChg>
        <pc:spChg chg="del">
          <ac:chgData name="Elgee, Jeffrey (SPAC/PSPC)" userId="e10f0e9c-c03f-4fde-9113-11216b420c44" providerId="ADAL" clId="{8A22DB22-CE08-4237-BAFA-661B83772496}" dt="2024-06-05T18:31:31.539" v="8" actId="478"/>
          <ac:spMkLst>
            <pc:docMk/>
            <pc:sldMk cId="3194185217" sldId="5000"/>
            <ac:spMk id="8" creationId="{B8D3236C-F5AD-B8FE-973F-67D3C1A9171D}"/>
          </ac:spMkLst>
        </pc:spChg>
        <pc:spChg chg="del">
          <ac:chgData name="Elgee, Jeffrey (SPAC/PSPC)" userId="e10f0e9c-c03f-4fde-9113-11216b420c44" providerId="ADAL" clId="{8A22DB22-CE08-4237-BAFA-661B83772496}" dt="2024-06-05T18:31:06.604" v="4" actId="478"/>
          <ac:spMkLst>
            <pc:docMk/>
            <pc:sldMk cId="3194185217" sldId="5000"/>
            <ac:spMk id="12" creationId="{9F58768A-F5F9-3AC4-6268-3A8E7F67BD06}"/>
          </ac:spMkLst>
        </pc:spChg>
        <pc:spChg chg="del">
          <ac:chgData name="Elgee, Jeffrey (SPAC/PSPC)" userId="e10f0e9c-c03f-4fde-9113-11216b420c44" providerId="ADAL" clId="{8A22DB22-CE08-4237-BAFA-661B83772496}" dt="2024-06-05T18:31:25.132" v="7" actId="478"/>
          <ac:spMkLst>
            <pc:docMk/>
            <pc:sldMk cId="3194185217" sldId="5000"/>
            <ac:spMk id="14" creationId="{9B6A7A23-1440-018C-FB55-8B1C9009263E}"/>
          </ac:spMkLst>
        </pc:spChg>
        <pc:spChg chg="del">
          <ac:chgData name="Elgee, Jeffrey (SPAC/PSPC)" userId="e10f0e9c-c03f-4fde-9113-11216b420c44" providerId="ADAL" clId="{8A22DB22-CE08-4237-BAFA-661B83772496}" dt="2024-06-05T18:30:53.009" v="2" actId="478"/>
          <ac:spMkLst>
            <pc:docMk/>
            <pc:sldMk cId="3194185217" sldId="5000"/>
            <ac:spMk id="15" creationId="{697BB04D-D5A9-EF9D-9DE3-EAE9709340EE}"/>
          </ac:spMkLst>
        </pc:spChg>
        <pc:spChg chg="del">
          <ac:chgData name="Elgee, Jeffrey (SPAC/PSPC)" userId="e10f0e9c-c03f-4fde-9113-11216b420c44" providerId="ADAL" clId="{8A22DB22-CE08-4237-BAFA-661B83772496}" dt="2024-06-05T18:30:56.815" v="3" actId="478"/>
          <ac:spMkLst>
            <pc:docMk/>
            <pc:sldMk cId="3194185217" sldId="5000"/>
            <ac:spMk id="17" creationId="{E809A576-517F-D6FE-2A09-5E88690E1076}"/>
          </ac:spMkLst>
        </pc:spChg>
        <pc:spChg chg="del">
          <ac:chgData name="Elgee, Jeffrey (SPAC/PSPC)" userId="e10f0e9c-c03f-4fde-9113-11216b420c44" providerId="ADAL" clId="{8A22DB22-CE08-4237-BAFA-661B83772496}" dt="2024-06-05T18:30:47.411" v="1" actId="478"/>
          <ac:spMkLst>
            <pc:docMk/>
            <pc:sldMk cId="3194185217" sldId="5000"/>
            <ac:spMk id="18" creationId="{99070905-81A6-326C-1DA9-2FC78FD03718}"/>
          </ac:spMkLst>
        </pc:spChg>
        <pc:spChg chg="mod">
          <ac:chgData name="Elgee, Jeffrey (SPAC/PSPC)" userId="e10f0e9c-c03f-4fde-9113-11216b420c44" providerId="ADAL" clId="{8A22DB22-CE08-4237-BAFA-661B83772496}" dt="2024-06-05T18:38:02.958" v="44" actId="1076"/>
          <ac:spMkLst>
            <pc:docMk/>
            <pc:sldMk cId="3194185217" sldId="5000"/>
            <ac:spMk id="19" creationId="{BFA234D2-120A-FD69-86AE-5FB98203EDF5}"/>
          </ac:spMkLst>
        </pc:spChg>
        <pc:spChg chg="mod">
          <ac:chgData name="Elgee, Jeffrey (SPAC/PSPC)" userId="e10f0e9c-c03f-4fde-9113-11216b420c44" providerId="ADAL" clId="{8A22DB22-CE08-4237-BAFA-661B83772496}" dt="2024-06-05T18:39:18.270" v="74" actId="1076"/>
          <ac:spMkLst>
            <pc:docMk/>
            <pc:sldMk cId="3194185217" sldId="5000"/>
            <ac:spMk id="20" creationId="{94DCBF09-ABA2-C4B6-97FC-220DA50B7E63}"/>
          </ac:spMkLst>
        </pc:spChg>
        <pc:spChg chg="mod">
          <ac:chgData name="Elgee, Jeffrey (SPAC/PSPC)" userId="e10f0e9c-c03f-4fde-9113-11216b420c44" providerId="ADAL" clId="{8A22DB22-CE08-4237-BAFA-661B83772496}" dt="2024-06-05T18:38:38.897" v="48" actId="1076"/>
          <ac:spMkLst>
            <pc:docMk/>
            <pc:sldMk cId="3194185217" sldId="5000"/>
            <ac:spMk id="21" creationId="{F0F688BB-42A1-D9B9-B9A0-C12D3974EA66}"/>
          </ac:spMkLst>
        </pc:spChg>
        <pc:spChg chg="del mod">
          <ac:chgData name="Elgee, Jeffrey (SPAC/PSPC)" userId="e10f0e9c-c03f-4fde-9113-11216b420c44" providerId="ADAL" clId="{8A22DB22-CE08-4237-BAFA-661B83772496}" dt="2024-06-05T18:35:25.814" v="33" actId="478"/>
          <ac:spMkLst>
            <pc:docMk/>
            <pc:sldMk cId="3194185217" sldId="5000"/>
            <ac:spMk id="22" creationId="{A41FBB0B-2102-57C6-0AD2-C0EFB2054B00}"/>
          </ac:spMkLst>
        </pc:spChg>
        <pc:spChg chg="del mod">
          <ac:chgData name="Elgee, Jeffrey (SPAC/PSPC)" userId="e10f0e9c-c03f-4fde-9113-11216b420c44" providerId="ADAL" clId="{8A22DB22-CE08-4237-BAFA-661B83772496}" dt="2024-06-05T18:35:25.814" v="33" actId="478"/>
          <ac:spMkLst>
            <pc:docMk/>
            <pc:sldMk cId="3194185217" sldId="5000"/>
            <ac:spMk id="23" creationId="{CAC9BBCC-16BF-2166-C575-6117AF67D5CE}"/>
          </ac:spMkLst>
        </pc:spChg>
        <pc:spChg chg="del mod">
          <ac:chgData name="Elgee, Jeffrey (SPAC/PSPC)" userId="e10f0e9c-c03f-4fde-9113-11216b420c44" providerId="ADAL" clId="{8A22DB22-CE08-4237-BAFA-661B83772496}" dt="2024-06-05T18:35:25.814" v="33" actId="478"/>
          <ac:spMkLst>
            <pc:docMk/>
            <pc:sldMk cId="3194185217" sldId="5000"/>
            <ac:spMk id="24" creationId="{05EA8BE3-E02E-CA95-5F0F-7220417D6DCA}"/>
          </ac:spMkLst>
        </pc:spChg>
        <pc:spChg chg="del mod">
          <ac:chgData name="Elgee, Jeffrey (SPAC/PSPC)" userId="e10f0e9c-c03f-4fde-9113-11216b420c44" providerId="ADAL" clId="{8A22DB22-CE08-4237-BAFA-661B83772496}" dt="2024-06-05T18:35:25.814" v="33" actId="478"/>
          <ac:spMkLst>
            <pc:docMk/>
            <pc:sldMk cId="3194185217" sldId="5000"/>
            <ac:spMk id="25" creationId="{0CFE0E3C-3A84-7713-B94B-DE9EDE116076}"/>
          </ac:spMkLst>
        </pc:spChg>
        <pc:spChg chg="del mod">
          <ac:chgData name="Elgee, Jeffrey (SPAC/PSPC)" userId="e10f0e9c-c03f-4fde-9113-11216b420c44" providerId="ADAL" clId="{8A22DB22-CE08-4237-BAFA-661B83772496}" dt="2024-06-05T18:35:25.814" v="33" actId="478"/>
          <ac:spMkLst>
            <pc:docMk/>
            <pc:sldMk cId="3194185217" sldId="5000"/>
            <ac:spMk id="26" creationId="{77B7338D-24BF-4F85-B000-845B3C243D12}"/>
          </ac:spMkLst>
        </pc:spChg>
        <pc:spChg chg="del mod">
          <ac:chgData name="Elgee, Jeffrey (SPAC/PSPC)" userId="e10f0e9c-c03f-4fde-9113-11216b420c44" providerId="ADAL" clId="{8A22DB22-CE08-4237-BAFA-661B83772496}" dt="2024-06-05T18:35:32.222" v="34" actId="478"/>
          <ac:spMkLst>
            <pc:docMk/>
            <pc:sldMk cId="3194185217" sldId="5000"/>
            <ac:spMk id="27" creationId="{1EADB5FE-B786-833B-39DB-D666DFB0E08B}"/>
          </ac:spMkLst>
        </pc:spChg>
        <pc:spChg chg="del mod">
          <ac:chgData name="Elgee, Jeffrey (SPAC/PSPC)" userId="e10f0e9c-c03f-4fde-9113-11216b420c44" providerId="ADAL" clId="{8A22DB22-CE08-4237-BAFA-661B83772496}" dt="2024-06-05T18:35:32.222" v="34" actId="478"/>
          <ac:spMkLst>
            <pc:docMk/>
            <pc:sldMk cId="3194185217" sldId="5000"/>
            <ac:spMk id="28" creationId="{35255DDD-5061-9149-E987-91D3D6A9ADA5}"/>
          </ac:spMkLst>
        </pc:spChg>
        <pc:spChg chg="del mod">
          <ac:chgData name="Elgee, Jeffrey (SPAC/PSPC)" userId="e10f0e9c-c03f-4fde-9113-11216b420c44" providerId="ADAL" clId="{8A22DB22-CE08-4237-BAFA-661B83772496}" dt="2024-06-05T18:35:32.222" v="34" actId="478"/>
          <ac:spMkLst>
            <pc:docMk/>
            <pc:sldMk cId="3194185217" sldId="5000"/>
            <ac:spMk id="29" creationId="{B769BDBB-1AFF-04EE-0B61-543741C62AE6}"/>
          </ac:spMkLst>
        </pc:spChg>
        <pc:spChg chg="del mod">
          <ac:chgData name="Elgee, Jeffrey (SPAC/PSPC)" userId="e10f0e9c-c03f-4fde-9113-11216b420c44" providerId="ADAL" clId="{8A22DB22-CE08-4237-BAFA-661B83772496}" dt="2024-06-05T18:35:32.222" v="34" actId="478"/>
          <ac:spMkLst>
            <pc:docMk/>
            <pc:sldMk cId="3194185217" sldId="5000"/>
            <ac:spMk id="30" creationId="{796D3174-7925-097A-3DAB-14D6614E2472}"/>
          </ac:spMkLst>
        </pc:spChg>
        <pc:spChg chg="del mod">
          <ac:chgData name="Elgee, Jeffrey (SPAC/PSPC)" userId="e10f0e9c-c03f-4fde-9113-11216b420c44" providerId="ADAL" clId="{8A22DB22-CE08-4237-BAFA-661B83772496}" dt="2024-06-05T18:35:32.222" v="34" actId="478"/>
          <ac:spMkLst>
            <pc:docMk/>
            <pc:sldMk cId="3194185217" sldId="5000"/>
            <ac:spMk id="31" creationId="{82EB5891-A5CA-3892-1503-ECDCEF930CDF}"/>
          </ac:spMkLst>
        </pc:spChg>
        <pc:spChg chg="mod">
          <ac:chgData name="Elgee, Jeffrey (SPAC/PSPC)" userId="e10f0e9c-c03f-4fde-9113-11216b420c44" providerId="ADAL" clId="{8A22DB22-CE08-4237-BAFA-661B83772496}" dt="2024-06-05T18:38:29.168" v="46" actId="1076"/>
          <ac:spMkLst>
            <pc:docMk/>
            <pc:sldMk cId="3194185217" sldId="5000"/>
            <ac:spMk id="32" creationId="{E4E3A91C-A0F3-2DBD-3A42-4B868F01CE67}"/>
          </ac:spMkLst>
        </pc:spChg>
        <pc:spChg chg="mod">
          <ac:chgData name="Elgee, Jeffrey (SPAC/PSPC)" userId="e10f0e9c-c03f-4fde-9113-11216b420c44" providerId="ADAL" clId="{8A22DB22-CE08-4237-BAFA-661B83772496}" dt="2024-06-05T18:38:29.168" v="46" actId="1076"/>
          <ac:spMkLst>
            <pc:docMk/>
            <pc:sldMk cId="3194185217" sldId="5000"/>
            <ac:spMk id="33" creationId="{0887182C-EA58-F4C8-0A6F-6284E60A0077}"/>
          </ac:spMkLst>
        </pc:spChg>
        <pc:spChg chg="mod">
          <ac:chgData name="Elgee, Jeffrey (SPAC/PSPC)" userId="e10f0e9c-c03f-4fde-9113-11216b420c44" providerId="ADAL" clId="{8A22DB22-CE08-4237-BAFA-661B83772496}" dt="2024-06-05T18:38:29.168" v="46" actId="1076"/>
          <ac:spMkLst>
            <pc:docMk/>
            <pc:sldMk cId="3194185217" sldId="5000"/>
            <ac:spMk id="34" creationId="{85F2CEB4-D0CB-A3BD-A40A-DDA728B058F9}"/>
          </ac:spMkLst>
        </pc:spChg>
        <pc:spChg chg="mod">
          <ac:chgData name="Elgee, Jeffrey (SPAC/PSPC)" userId="e10f0e9c-c03f-4fde-9113-11216b420c44" providerId="ADAL" clId="{8A22DB22-CE08-4237-BAFA-661B83772496}" dt="2024-06-05T18:38:29.168" v="46" actId="1076"/>
          <ac:spMkLst>
            <pc:docMk/>
            <pc:sldMk cId="3194185217" sldId="5000"/>
            <ac:spMk id="35" creationId="{F5C5410F-2121-82CA-883E-FE65EBEADE9B}"/>
          </ac:spMkLst>
        </pc:spChg>
        <pc:spChg chg="mod">
          <ac:chgData name="Elgee, Jeffrey (SPAC/PSPC)" userId="e10f0e9c-c03f-4fde-9113-11216b420c44" providerId="ADAL" clId="{8A22DB22-CE08-4237-BAFA-661B83772496}" dt="2024-06-05T18:38:29.168" v="46" actId="1076"/>
          <ac:spMkLst>
            <pc:docMk/>
            <pc:sldMk cId="3194185217" sldId="5000"/>
            <ac:spMk id="36" creationId="{E164CD8B-6519-6488-697B-850EC3B890A6}"/>
          </ac:spMkLst>
        </pc:spChg>
        <pc:spChg chg="mod">
          <ac:chgData name="Elgee, Jeffrey (SPAC/PSPC)" userId="e10f0e9c-c03f-4fde-9113-11216b420c44" providerId="ADAL" clId="{8A22DB22-CE08-4237-BAFA-661B83772496}" dt="2024-06-05T18:39:08.013" v="73" actId="1076"/>
          <ac:spMkLst>
            <pc:docMk/>
            <pc:sldMk cId="3194185217" sldId="5000"/>
            <ac:spMk id="37" creationId="{A8AC4175-8E9A-70C2-56A5-B068A8EFB7D5}"/>
          </ac:spMkLst>
        </pc:spChg>
        <pc:spChg chg="mod">
          <ac:chgData name="Elgee, Jeffrey (SPAC/PSPC)" userId="e10f0e9c-c03f-4fde-9113-11216b420c44" providerId="ADAL" clId="{8A22DB22-CE08-4237-BAFA-661B83772496}" dt="2024-06-05T18:39:08.013" v="73" actId="1076"/>
          <ac:spMkLst>
            <pc:docMk/>
            <pc:sldMk cId="3194185217" sldId="5000"/>
            <ac:spMk id="38" creationId="{67744030-6713-B9D7-0991-3B82A9C289EE}"/>
          </ac:spMkLst>
        </pc:spChg>
        <pc:spChg chg="mod">
          <ac:chgData name="Elgee, Jeffrey (SPAC/PSPC)" userId="e10f0e9c-c03f-4fde-9113-11216b420c44" providerId="ADAL" clId="{8A22DB22-CE08-4237-BAFA-661B83772496}" dt="2024-06-05T18:39:08.013" v="73" actId="1076"/>
          <ac:spMkLst>
            <pc:docMk/>
            <pc:sldMk cId="3194185217" sldId="5000"/>
            <ac:spMk id="39" creationId="{3E97E9F0-DC56-D100-7B11-AEF055A97DCA}"/>
          </ac:spMkLst>
        </pc:spChg>
        <pc:spChg chg="mod">
          <ac:chgData name="Elgee, Jeffrey (SPAC/PSPC)" userId="e10f0e9c-c03f-4fde-9113-11216b420c44" providerId="ADAL" clId="{8A22DB22-CE08-4237-BAFA-661B83772496}" dt="2024-06-05T18:39:08.013" v="73" actId="1076"/>
          <ac:spMkLst>
            <pc:docMk/>
            <pc:sldMk cId="3194185217" sldId="5000"/>
            <ac:spMk id="40" creationId="{F7073BE9-1671-FEE7-C881-346A3AE2C475}"/>
          </ac:spMkLst>
        </pc:spChg>
        <pc:spChg chg="mod">
          <ac:chgData name="Elgee, Jeffrey (SPAC/PSPC)" userId="e10f0e9c-c03f-4fde-9113-11216b420c44" providerId="ADAL" clId="{8A22DB22-CE08-4237-BAFA-661B83772496}" dt="2024-06-05T18:39:08.013" v="73" actId="1076"/>
          <ac:spMkLst>
            <pc:docMk/>
            <pc:sldMk cId="3194185217" sldId="5000"/>
            <ac:spMk id="41" creationId="{06CC2BB9-287A-6152-62E0-425567B829A1}"/>
          </ac:spMkLst>
        </pc:spChg>
        <pc:spChg chg="mod">
          <ac:chgData name="Elgee, Jeffrey (SPAC/PSPC)" userId="e10f0e9c-c03f-4fde-9113-11216b420c44" providerId="ADAL" clId="{8A22DB22-CE08-4237-BAFA-661B83772496}" dt="2024-06-05T18:38:29.168" v="46" actId="1076"/>
          <ac:spMkLst>
            <pc:docMk/>
            <pc:sldMk cId="3194185217" sldId="5000"/>
            <ac:spMk id="42" creationId="{6893D8D9-32DD-CF92-2CC1-CE7B0500E134}"/>
          </ac:spMkLst>
        </pc:spChg>
        <pc:spChg chg="mod">
          <ac:chgData name="Elgee, Jeffrey (SPAC/PSPC)" userId="e10f0e9c-c03f-4fde-9113-11216b420c44" providerId="ADAL" clId="{8A22DB22-CE08-4237-BAFA-661B83772496}" dt="2024-06-05T18:38:29.168" v="46" actId="1076"/>
          <ac:spMkLst>
            <pc:docMk/>
            <pc:sldMk cId="3194185217" sldId="5000"/>
            <ac:spMk id="43" creationId="{C333FD2E-87B7-6B14-3D2B-9E4CCA21AA9E}"/>
          </ac:spMkLst>
        </pc:spChg>
        <pc:spChg chg="mod">
          <ac:chgData name="Elgee, Jeffrey (SPAC/PSPC)" userId="e10f0e9c-c03f-4fde-9113-11216b420c44" providerId="ADAL" clId="{8A22DB22-CE08-4237-BAFA-661B83772496}" dt="2024-06-05T18:38:29.168" v="46" actId="1076"/>
          <ac:spMkLst>
            <pc:docMk/>
            <pc:sldMk cId="3194185217" sldId="5000"/>
            <ac:spMk id="44" creationId="{416A71BF-C1C4-B629-38F7-60E0683827BE}"/>
          </ac:spMkLst>
        </pc:spChg>
        <pc:spChg chg="mod">
          <ac:chgData name="Elgee, Jeffrey (SPAC/PSPC)" userId="e10f0e9c-c03f-4fde-9113-11216b420c44" providerId="ADAL" clId="{8A22DB22-CE08-4237-BAFA-661B83772496}" dt="2024-06-05T18:38:29.168" v="46" actId="1076"/>
          <ac:spMkLst>
            <pc:docMk/>
            <pc:sldMk cId="3194185217" sldId="5000"/>
            <ac:spMk id="45" creationId="{98C5E74F-CC52-BDD5-5039-BC7A60803549}"/>
          </ac:spMkLst>
        </pc:spChg>
        <pc:spChg chg="mod">
          <ac:chgData name="Elgee, Jeffrey (SPAC/PSPC)" userId="e10f0e9c-c03f-4fde-9113-11216b420c44" providerId="ADAL" clId="{8A22DB22-CE08-4237-BAFA-661B83772496}" dt="2024-06-05T18:38:29.168" v="46" actId="1076"/>
          <ac:spMkLst>
            <pc:docMk/>
            <pc:sldMk cId="3194185217" sldId="5000"/>
            <ac:spMk id="46" creationId="{F5D8FDAD-571E-8BED-294E-116FD8CF6864}"/>
          </ac:spMkLst>
        </pc:spChg>
        <pc:spChg chg="mod">
          <ac:chgData name="Elgee, Jeffrey (SPAC/PSPC)" userId="e10f0e9c-c03f-4fde-9113-11216b420c44" providerId="ADAL" clId="{8A22DB22-CE08-4237-BAFA-661B83772496}" dt="2024-06-05T18:39:08.013" v="73" actId="1076"/>
          <ac:spMkLst>
            <pc:docMk/>
            <pc:sldMk cId="3194185217" sldId="5000"/>
            <ac:spMk id="47" creationId="{3B176C01-B35C-12A0-C785-76E84702C722}"/>
          </ac:spMkLst>
        </pc:spChg>
        <pc:spChg chg="mod">
          <ac:chgData name="Elgee, Jeffrey (SPAC/PSPC)" userId="e10f0e9c-c03f-4fde-9113-11216b420c44" providerId="ADAL" clId="{8A22DB22-CE08-4237-BAFA-661B83772496}" dt="2024-06-05T18:39:08.013" v="73" actId="1076"/>
          <ac:spMkLst>
            <pc:docMk/>
            <pc:sldMk cId="3194185217" sldId="5000"/>
            <ac:spMk id="48" creationId="{CBCCEA58-A032-F97E-E1D2-BA10AAA854E1}"/>
          </ac:spMkLst>
        </pc:spChg>
        <pc:spChg chg="mod">
          <ac:chgData name="Elgee, Jeffrey (SPAC/PSPC)" userId="e10f0e9c-c03f-4fde-9113-11216b420c44" providerId="ADAL" clId="{8A22DB22-CE08-4237-BAFA-661B83772496}" dt="2024-06-05T18:39:08.013" v="73" actId="1076"/>
          <ac:spMkLst>
            <pc:docMk/>
            <pc:sldMk cId="3194185217" sldId="5000"/>
            <ac:spMk id="49" creationId="{A13F8D29-D7AF-4059-F46B-DB7C1E8CA600}"/>
          </ac:spMkLst>
        </pc:spChg>
        <pc:spChg chg="mod">
          <ac:chgData name="Elgee, Jeffrey (SPAC/PSPC)" userId="e10f0e9c-c03f-4fde-9113-11216b420c44" providerId="ADAL" clId="{8A22DB22-CE08-4237-BAFA-661B83772496}" dt="2024-06-05T18:39:08.013" v="73" actId="1076"/>
          <ac:spMkLst>
            <pc:docMk/>
            <pc:sldMk cId="3194185217" sldId="5000"/>
            <ac:spMk id="50" creationId="{8B2A6E12-EE1D-E7A4-79CD-487DA302FC38}"/>
          </ac:spMkLst>
        </pc:spChg>
        <pc:spChg chg="mod">
          <ac:chgData name="Elgee, Jeffrey (SPAC/PSPC)" userId="e10f0e9c-c03f-4fde-9113-11216b420c44" providerId="ADAL" clId="{8A22DB22-CE08-4237-BAFA-661B83772496}" dt="2024-06-05T18:39:08.013" v="73" actId="1076"/>
          <ac:spMkLst>
            <pc:docMk/>
            <pc:sldMk cId="3194185217" sldId="5000"/>
            <ac:spMk id="51" creationId="{0B3E6690-78E2-CF8D-8F0F-EA15ECF5FBD6}"/>
          </ac:spMkLst>
        </pc:spChg>
        <pc:spChg chg="mod">
          <ac:chgData name="Elgee, Jeffrey (SPAC/PSPC)" userId="e10f0e9c-c03f-4fde-9113-11216b420c44" providerId="ADAL" clId="{8A22DB22-CE08-4237-BAFA-661B83772496}" dt="2024-06-05T18:38:29.168" v="46" actId="1076"/>
          <ac:spMkLst>
            <pc:docMk/>
            <pc:sldMk cId="3194185217" sldId="5000"/>
            <ac:spMk id="52" creationId="{7DDC9965-13FC-63C2-649C-6DD553949BEA}"/>
          </ac:spMkLst>
        </pc:spChg>
        <pc:spChg chg="mod">
          <ac:chgData name="Elgee, Jeffrey (SPAC/PSPC)" userId="e10f0e9c-c03f-4fde-9113-11216b420c44" providerId="ADAL" clId="{8A22DB22-CE08-4237-BAFA-661B83772496}" dt="2024-06-05T18:38:29.168" v="46" actId="1076"/>
          <ac:spMkLst>
            <pc:docMk/>
            <pc:sldMk cId="3194185217" sldId="5000"/>
            <ac:spMk id="53" creationId="{E8CD7EF2-FC5D-142D-E39A-979698AF67B5}"/>
          </ac:spMkLst>
        </pc:spChg>
        <pc:spChg chg="mod">
          <ac:chgData name="Elgee, Jeffrey (SPAC/PSPC)" userId="e10f0e9c-c03f-4fde-9113-11216b420c44" providerId="ADAL" clId="{8A22DB22-CE08-4237-BAFA-661B83772496}" dt="2024-06-05T18:38:29.168" v="46" actId="1076"/>
          <ac:spMkLst>
            <pc:docMk/>
            <pc:sldMk cId="3194185217" sldId="5000"/>
            <ac:spMk id="54" creationId="{A2738999-A52D-6EBC-35EB-31AA0796BD36}"/>
          </ac:spMkLst>
        </pc:spChg>
        <pc:spChg chg="mod">
          <ac:chgData name="Elgee, Jeffrey (SPAC/PSPC)" userId="e10f0e9c-c03f-4fde-9113-11216b420c44" providerId="ADAL" clId="{8A22DB22-CE08-4237-BAFA-661B83772496}" dt="2024-06-05T18:38:29.168" v="46" actId="1076"/>
          <ac:spMkLst>
            <pc:docMk/>
            <pc:sldMk cId="3194185217" sldId="5000"/>
            <ac:spMk id="55" creationId="{6F996561-7321-3323-DBAF-F6D9CE1FF309}"/>
          </ac:spMkLst>
        </pc:spChg>
        <pc:spChg chg="mod">
          <ac:chgData name="Elgee, Jeffrey (SPAC/PSPC)" userId="e10f0e9c-c03f-4fde-9113-11216b420c44" providerId="ADAL" clId="{8A22DB22-CE08-4237-BAFA-661B83772496}" dt="2024-06-05T18:38:29.168" v="46" actId="1076"/>
          <ac:spMkLst>
            <pc:docMk/>
            <pc:sldMk cId="3194185217" sldId="5000"/>
            <ac:spMk id="56" creationId="{5A3ED452-BE60-181F-9C97-203C7BF40DA7}"/>
          </ac:spMkLst>
        </pc:spChg>
        <pc:spChg chg="mod">
          <ac:chgData name="Elgee, Jeffrey (SPAC/PSPC)" userId="e10f0e9c-c03f-4fde-9113-11216b420c44" providerId="ADAL" clId="{8A22DB22-CE08-4237-BAFA-661B83772496}" dt="2024-06-05T18:39:08.013" v="73" actId="1076"/>
          <ac:spMkLst>
            <pc:docMk/>
            <pc:sldMk cId="3194185217" sldId="5000"/>
            <ac:spMk id="57" creationId="{1EC8989F-4D83-6D20-1012-6F5C584E9D6D}"/>
          </ac:spMkLst>
        </pc:spChg>
        <pc:spChg chg="mod">
          <ac:chgData name="Elgee, Jeffrey (SPAC/PSPC)" userId="e10f0e9c-c03f-4fde-9113-11216b420c44" providerId="ADAL" clId="{8A22DB22-CE08-4237-BAFA-661B83772496}" dt="2024-06-05T18:39:08.013" v="73" actId="1076"/>
          <ac:spMkLst>
            <pc:docMk/>
            <pc:sldMk cId="3194185217" sldId="5000"/>
            <ac:spMk id="58" creationId="{815DE183-7218-A4B1-B860-C06F4309AA3D}"/>
          </ac:spMkLst>
        </pc:spChg>
        <pc:spChg chg="del mod">
          <ac:chgData name="Elgee, Jeffrey (SPAC/PSPC)" userId="e10f0e9c-c03f-4fde-9113-11216b420c44" providerId="ADAL" clId="{8A22DB22-CE08-4237-BAFA-661B83772496}" dt="2024-06-05T18:37:45.414" v="42" actId="478"/>
          <ac:spMkLst>
            <pc:docMk/>
            <pc:sldMk cId="3194185217" sldId="5000"/>
            <ac:spMk id="59" creationId="{0CDCC43A-E910-ADA2-52ED-C41D553C3D75}"/>
          </ac:spMkLst>
        </pc:spChg>
        <pc:spChg chg="mod">
          <ac:chgData name="Elgee, Jeffrey (SPAC/PSPC)" userId="e10f0e9c-c03f-4fde-9113-11216b420c44" providerId="ADAL" clId="{8A22DB22-CE08-4237-BAFA-661B83772496}" dt="2024-06-05T18:33:18.979" v="25" actId="571"/>
          <ac:spMkLst>
            <pc:docMk/>
            <pc:sldMk cId="3194185217" sldId="5000"/>
            <ac:spMk id="62" creationId="{5782BE9B-2DA4-9E7F-B316-A6EE751FB6AD}"/>
          </ac:spMkLst>
        </pc:spChg>
        <pc:spChg chg="mod">
          <ac:chgData name="Elgee, Jeffrey (SPAC/PSPC)" userId="e10f0e9c-c03f-4fde-9113-11216b420c44" providerId="ADAL" clId="{8A22DB22-CE08-4237-BAFA-661B83772496}" dt="2024-06-05T18:33:18.979" v="25" actId="571"/>
          <ac:spMkLst>
            <pc:docMk/>
            <pc:sldMk cId="3194185217" sldId="5000"/>
            <ac:spMk id="64" creationId="{45855FC7-0B38-C3F8-AFE7-BDEDD1B91CF4}"/>
          </ac:spMkLst>
        </pc:spChg>
        <pc:spChg chg="mod">
          <ac:chgData name="Elgee, Jeffrey (SPAC/PSPC)" userId="e10f0e9c-c03f-4fde-9113-11216b420c44" providerId="ADAL" clId="{8A22DB22-CE08-4237-BAFA-661B83772496}" dt="2024-06-05T18:33:18.979" v="25" actId="571"/>
          <ac:spMkLst>
            <pc:docMk/>
            <pc:sldMk cId="3194185217" sldId="5000"/>
            <ac:spMk id="65" creationId="{F1D04CFE-85CE-CB35-D9A6-4088A8212AC2}"/>
          </ac:spMkLst>
        </pc:spChg>
        <pc:spChg chg="mod">
          <ac:chgData name="Elgee, Jeffrey (SPAC/PSPC)" userId="e10f0e9c-c03f-4fde-9113-11216b420c44" providerId="ADAL" clId="{8A22DB22-CE08-4237-BAFA-661B83772496}" dt="2024-06-05T18:33:18.979" v="25" actId="571"/>
          <ac:spMkLst>
            <pc:docMk/>
            <pc:sldMk cId="3194185217" sldId="5000"/>
            <ac:spMk id="67" creationId="{1321C3BD-88DD-C688-5910-FBAD83F66D2C}"/>
          </ac:spMkLst>
        </pc:spChg>
        <pc:spChg chg="mod">
          <ac:chgData name="Elgee, Jeffrey (SPAC/PSPC)" userId="e10f0e9c-c03f-4fde-9113-11216b420c44" providerId="ADAL" clId="{8A22DB22-CE08-4237-BAFA-661B83772496}" dt="2024-06-05T18:33:18.979" v="25" actId="571"/>
          <ac:spMkLst>
            <pc:docMk/>
            <pc:sldMk cId="3194185217" sldId="5000"/>
            <ac:spMk id="68" creationId="{AC66B73B-D041-44D2-DE28-1F67D152F3A1}"/>
          </ac:spMkLst>
        </pc:spChg>
        <pc:spChg chg="mod">
          <ac:chgData name="Elgee, Jeffrey (SPAC/PSPC)" userId="e10f0e9c-c03f-4fde-9113-11216b420c44" providerId="ADAL" clId="{8A22DB22-CE08-4237-BAFA-661B83772496}" dt="2024-06-05T18:33:18.979" v="25" actId="571"/>
          <ac:spMkLst>
            <pc:docMk/>
            <pc:sldMk cId="3194185217" sldId="5000"/>
            <ac:spMk id="69" creationId="{CDB7C5CD-F4AC-8A66-5378-BF3E4CB2B2A8}"/>
          </ac:spMkLst>
        </pc:spChg>
        <pc:spChg chg="mod">
          <ac:chgData name="Elgee, Jeffrey (SPAC/PSPC)" userId="e10f0e9c-c03f-4fde-9113-11216b420c44" providerId="ADAL" clId="{8A22DB22-CE08-4237-BAFA-661B83772496}" dt="2024-06-05T18:33:18.979" v="25" actId="571"/>
          <ac:spMkLst>
            <pc:docMk/>
            <pc:sldMk cId="3194185217" sldId="5000"/>
            <ac:spMk id="70" creationId="{0345FD51-2B7B-EF07-5887-2EBFDF34C717}"/>
          </ac:spMkLst>
        </pc:spChg>
        <pc:spChg chg="mod">
          <ac:chgData name="Elgee, Jeffrey (SPAC/PSPC)" userId="e10f0e9c-c03f-4fde-9113-11216b420c44" providerId="ADAL" clId="{8A22DB22-CE08-4237-BAFA-661B83772496}" dt="2024-06-05T18:33:18.979" v="25" actId="571"/>
          <ac:spMkLst>
            <pc:docMk/>
            <pc:sldMk cId="3194185217" sldId="5000"/>
            <ac:spMk id="71" creationId="{C6BF1ADF-E135-B21B-74D8-9F28DBAAFD66}"/>
          </ac:spMkLst>
        </pc:spChg>
        <pc:spChg chg="mod">
          <ac:chgData name="Elgee, Jeffrey (SPAC/PSPC)" userId="e10f0e9c-c03f-4fde-9113-11216b420c44" providerId="ADAL" clId="{8A22DB22-CE08-4237-BAFA-661B83772496}" dt="2024-06-05T18:33:18.979" v="25" actId="571"/>
          <ac:spMkLst>
            <pc:docMk/>
            <pc:sldMk cId="3194185217" sldId="5000"/>
            <ac:spMk id="72" creationId="{539BFB47-01E8-3E08-8FB1-2F7C72B27323}"/>
          </ac:spMkLst>
        </pc:spChg>
        <pc:spChg chg="mod">
          <ac:chgData name="Elgee, Jeffrey (SPAC/PSPC)" userId="e10f0e9c-c03f-4fde-9113-11216b420c44" providerId="ADAL" clId="{8A22DB22-CE08-4237-BAFA-661B83772496}" dt="2024-06-05T18:33:18.979" v="25" actId="571"/>
          <ac:spMkLst>
            <pc:docMk/>
            <pc:sldMk cId="3194185217" sldId="5000"/>
            <ac:spMk id="73" creationId="{AC9D358B-D420-79BA-6D60-04D058CBF1FA}"/>
          </ac:spMkLst>
        </pc:spChg>
        <pc:spChg chg="mod">
          <ac:chgData name="Elgee, Jeffrey (SPAC/PSPC)" userId="e10f0e9c-c03f-4fde-9113-11216b420c44" providerId="ADAL" clId="{8A22DB22-CE08-4237-BAFA-661B83772496}" dt="2024-06-05T18:33:18.979" v="25" actId="571"/>
          <ac:spMkLst>
            <pc:docMk/>
            <pc:sldMk cId="3194185217" sldId="5000"/>
            <ac:spMk id="74" creationId="{1B335456-D634-A7D1-484E-B60B8D80EDC3}"/>
          </ac:spMkLst>
        </pc:spChg>
        <pc:spChg chg="mod">
          <ac:chgData name="Elgee, Jeffrey (SPAC/PSPC)" userId="e10f0e9c-c03f-4fde-9113-11216b420c44" providerId="ADAL" clId="{8A22DB22-CE08-4237-BAFA-661B83772496}" dt="2024-06-05T18:33:18.979" v="25" actId="571"/>
          <ac:spMkLst>
            <pc:docMk/>
            <pc:sldMk cId="3194185217" sldId="5000"/>
            <ac:spMk id="75" creationId="{21FEA7B0-C92C-4F85-D04E-D2A6ED4CADE4}"/>
          </ac:spMkLst>
        </pc:spChg>
        <pc:spChg chg="mod">
          <ac:chgData name="Elgee, Jeffrey (SPAC/PSPC)" userId="e10f0e9c-c03f-4fde-9113-11216b420c44" providerId="ADAL" clId="{8A22DB22-CE08-4237-BAFA-661B83772496}" dt="2024-06-05T18:33:18.979" v="25" actId="571"/>
          <ac:spMkLst>
            <pc:docMk/>
            <pc:sldMk cId="3194185217" sldId="5000"/>
            <ac:spMk id="76" creationId="{ABEE8544-1D26-9200-CDF0-D1350CA08421}"/>
          </ac:spMkLst>
        </pc:spChg>
        <pc:spChg chg="mod">
          <ac:chgData name="Elgee, Jeffrey (SPAC/PSPC)" userId="e10f0e9c-c03f-4fde-9113-11216b420c44" providerId="ADAL" clId="{8A22DB22-CE08-4237-BAFA-661B83772496}" dt="2024-06-05T18:33:18.979" v="25" actId="571"/>
          <ac:spMkLst>
            <pc:docMk/>
            <pc:sldMk cId="3194185217" sldId="5000"/>
            <ac:spMk id="77" creationId="{E44F8EE3-ED60-217F-00DB-6DEA5587984D}"/>
          </ac:spMkLst>
        </pc:spChg>
        <pc:spChg chg="mod">
          <ac:chgData name="Elgee, Jeffrey (SPAC/PSPC)" userId="e10f0e9c-c03f-4fde-9113-11216b420c44" providerId="ADAL" clId="{8A22DB22-CE08-4237-BAFA-661B83772496}" dt="2024-06-05T18:33:18.979" v="25" actId="571"/>
          <ac:spMkLst>
            <pc:docMk/>
            <pc:sldMk cId="3194185217" sldId="5000"/>
            <ac:spMk id="78" creationId="{721FD5B1-B8E8-81F5-1A1C-B73F2499E044}"/>
          </ac:spMkLst>
        </pc:spChg>
        <pc:spChg chg="mod">
          <ac:chgData name="Elgee, Jeffrey (SPAC/PSPC)" userId="e10f0e9c-c03f-4fde-9113-11216b420c44" providerId="ADAL" clId="{8A22DB22-CE08-4237-BAFA-661B83772496}" dt="2024-06-05T18:33:18.979" v="25" actId="571"/>
          <ac:spMkLst>
            <pc:docMk/>
            <pc:sldMk cId="3194185217" sldId="5000"/>
            <ac:spMk id="79" creationId="{59CB107C-EFA5-0571-874A-71E040057DA9}"/>
          </ac:spMkLst>
        </pc:spChg>
        <pc:spChg chg="mod">
          <ac:chgData name="Elgee, Jeffrey (SPAC/PSPC)" userId="e10f0e9c-c03f-4fde-9113-11216b420c44" providerId="ADAL" clId="{8A22DB22-CE08-4237-BAFA-661B83772496}" dt="2024-06-05T18:33:18.979" v="25" actId="571"/>
          <ac:spMkLst>
            <pc:docMk/>
            <pc:sldMk cId="3194185217" sldId="5000"/>
            <ac:spMk id="80" creationId="{3628AC16-36E1-9F26-FCE2-3D4ACC068FED}"/>
          </ac:spMkLst>
        </pc:spChg>
        <pc:spChg chg="mod">
          <ac:chgData name="Elgee, Jeffrey (SPAC/PSPC)" userId="e10f0e9c-c03f-4fde-9113-11216b420c44" providerId="ADAL" clId="{8A22DB22-CE08-4237-BAFA-661B83772496}" dt="2024-06-05T18:33:18.979" v="25" actId="571"/>
          <ac:spMkLst>
            <pc:docMk/>
            <pc:sldMk cId="3194185217" sldId="5000"/>
            <ac:spMk id="81" creationId="{55B8F6F9-30B5-38AD-5C41-FF97AE574FB1}"/>
          </ac:spMkLst>
        </pc:spChg>
        <pc:spChg chg="mod">
          <ac:chgData name="Elgee, Jeffrey (SPAC/PSPC)" userId="e10f0e9c-c03f-4fde-9113-11216b420c44" providerId="ADAL" clId="{8A22DB22-CE08-4237-BAFA-661B83772496}" dt="2024-06-05T18:33:18.979" v="25" actId="571"/>
          <ac:spMkLst>
            <pc:docMk/>
            <pc:sldMk cId="3194185217" sldId="5000"/>
            <ac:spMk id="82" creationId="{04074352-6561-469C-9CA8-58B3994C0B48}"/>
          </ac:spMkLst>
        </pc:spChg>
        <pc:spChg chg="mod">
          <ac:chgData name="Elgee, Jeffrey (SPAC/PSPC)" userId="e10f0e9c-c03f-4fde-9113-11216b420c44" providerId="ADAL" clId="{8A22DB22-CE08-4237-BAFA-661B83772496}" dt="2024-06-05T18:33:18.979" v="25" actId="571"/>
          <ac:spMkLst>
            <pc:docMk/>
            <pc:sldMk cId="3194185217" sldId="5000"/>
            <ac:spMk id="83" creationId="{1FF1D28E-71DB-BB24-D0F9-B7127B862037}"/>
          </ac:spMkLst>
        </pc:spChg>
        <pc:spChg chg="mod">
          <ac:chgData name="Elgee, Jeffrey (SPAC/PSPC)" userId="e10f0e9c-c03f-4fde-9113-11216b420c44" providerId="ADAL" clId="{8A22DB22-CE08-4237-BAFA-661B83772496}" dt="2024-06-05T18:33:18.979" v="25" actId="571"/>
          <ac:spMkLst>
            <pc:docMk/>
            <pc:sldMk cId="3194185217" sldId="5000"/>
            <ac:spMk id="84" creationId="{4A95BE5C-9695-5A49-5F7B-42E0D306B511}"/>
          </ac:spMkLst>
        </pc:spChg>
        <pc:spChg chg="mod">
          <ac:chgData name="Elgee, Jeffrey (SPAC/PSPC)" userId="e10f0e9c-c03f-4fde-9113-11216b420c44" providerId="ADAL" clId="{8A22DB22-CE08-4237-BAFA-661B83772496}" dt="2024-06-05T18:36:23.554" v="38" actId="207"/>
          <ac:spMkLst>
            <pc:docMk/>
            <pc:sldMk cId="3194185217" sldId="5000"/>
            <ac:spMk id="85" creationId="{C71A26AD-7EF2-1E88-3459-C38894A489EA}"/>
          </ac:spMkLst>
        </pc:spChg>
        <pc:spChg chg="mod">
          <ac:chgData name="Elgee, Jeffrey (SPAC/PSPC)" userId="e10f0e9c-c03f-4fde-9113-11216b420c44" providerId="ADAL" clId="{8A22DB22-CE08-4237-BAFA-661B83772496}" dt="2024-06-05T18:33:18.979" v="25" actId="571"/>
          <ac:spMkLst>
            <pc:docMk/>
            <pc:sldMk cId="3194185217" sldId="5000"/>
            <ac:spMk id="86" creationId="{E2DC76E6-D970-DFF5-B90F-B7A37D44948C}"/>
          </ac:spMkLst>
        </pc:spChg>
        <pc:spChg chg="mod">
          <ac:chgData name="Elgee, Jeffrey (SPAC/PSPC)" userId="e10f0e9c-c03f-4fde-9113-11216b420c44" providerId="ADAL" clId="{8A22DB22-CE08-4237-BAFA-661B83772496}" dt="2024-06-05T18:33:18.979" v="25" actId="571"/>
          <ac:spMkLst>
            <pc:docMk/>
            <pc:sldMk cId="3194185217" sldId="5000"/>
            <ac:spMk id="87" creationId="{F30F4DAF-7030-3561-F330-42BCA5B33E01}"/>
          </ac:spMkLst>
        </pc:spChg>
        <pc:spChg chg="mod">
          <ac:chgData name="Elgee, Jeffrey (SPAC/PSPC)" userId="e10f0e9c-c03f-4fde-9113-11216b420c44" providerId="ADAL" clId="{8A22DB22-CE08-4237-BAFA-661B83772496}" dt="2024-06-05T18:33:18.979" v="25" actId="571"/>
          <ac:spMkLst>
            <pc:docMk/>
            <pc:sldMk cId="3194185217" sldId="5000"/>
            <ac:spMk id="88" creationId="{3C579C58-B8F2-9B89-39A4-CE396AD876FA}"/>
          </ac:spMkLst>
        </pc:spChg>
        <pc:spChg chg="mod">
          <ac:chgData name="Elgee, Jeffrey (SPAC/PSPC)" userId="e10f0e9c-c03f-4fde-9113-11216b420c44" providerId="ADAL" clId="{8A22DB22-CE08-4237-BAFA-661B83772496}" dt="2024-06-05T18:33:18.979" v="25" actId="571"/>
          <ac:spMkLst>
            <pc:docMk/>
            <pc:sldMk cId="3194185217" sldId="5000"/>
            <ac:spMk id="89" creationId="{77BAA2A7-9892-D252-FEB0-4274F4B26BFB}"/>
          </ac:spMkLst>
        </pc:spChg>
        <pc:spChg chg="mod">
          <ac:chgData name="Elgee, Jeffrey (SPAC/PSPC)" userId="e10f0e9c-c03f-4fde-9113-11216b420c44" providerId="ADAL" clId="{8A22DB22-CE08-4237-BAFA-661B83772496}" dt="2024-06-05T18:33:18.979" v="25" actId="571"/>
          <ac:spMkLst>
            <pc:docMk/>
            <pc:sldMk cId="3194185217" sldId="5000"/>
            <ac:spMk id="90" creationId="{20801CB3-FA6C-754B-C6C6-26EDFB7EF772}"/>
          </ac:spMkLst>
        </pc:spChg>
        <pc:spChg chg="mod">
          <ac:chgData name="Elgee, Jeffrey (SPAC/PSPC)" userId="e10f0e9c-c03f-4fde-9113-11216b420c44" providerId="ADAL" clId="{8A22DB22-CE08-4237-BAFA-661B83772496}" dt="2024-06-05T18:33:18.979" v="25" actId="571"/>
          <ac:spMkLst>
            <pc:docMk/>
            <pc:sldMk cId="3194185217" sldId="5000"/>
            <ac:spMk id="91" creationId="{0200689D-EE6B-6145-A12C-BE279410E9F1}"/>
          </ac:spMkLst>
        </pc:spChg>
        <pc:spChg chg="mod">
          <ac:chgData name="Elgee, Jeffrey (SPAC/PSPC)" userId="e10f0e9c-c03f-4fde-9113-11216b420c44" providerId="ADAL" clId="{8A22DB22-CE08-4237-BAFA-661B83772496}" dt="2024-06-05T20:47:12.647" v="153" actId="207"/>
          <ac:spMkLst>
            <pc:docMk/>
            <pc:sldMk cId="3194185217" sldId="5000"/>
            <ac:spMk id="92" creationId="{2B387E84-5579-4099-4E6C-397361752321}"/>
          </ac:spMkLst>
        </pc:spChg>
        <pc:spChg chg="mod">
          <ac:chgData name="Elgee, Jeffrey (SPAC/PSPC)" userId="e10f0e9c-c03f-4fde-9113-11216b420c44" providerId="ADAL" clId="{8A22DB22-CE08-4237-BAFA-661B83772496}" dt="2024-06-05T18:33:18.979" v="25" actId="571"/>
          <ac:spMkLst>
            <pc:docMk/>
            <pc:sldMk cId="3194185217" sldId="5000"/>
            <ac:spMk id="93" creationId="{9A0275B6-C321-7E11-4AF0-0FFBB26A3840}"/>
          </ac:spMkLst>
        </pc:spChg>
        <pc:spChg chg="mod">
          <ac:chgData name="Elgee, Jeffrey (SPAC/PSPC)" userId="e10f0e9c-c03f-4fde-9113-11216b420c44" providerId="ADAL" clId="{8A22DB22-CE08-4237-BAFA-661B83772496}" dt="2024-06-05T18:33:18.979" v="25" actId="571"/>
          <ac:spMkLst>
            <pc:docMk/>
            <pc:sldMk cId="3194185217" sldId="5000"/>
            <ac:spMk id="94" creationId="{816E36D8-4D0D-276D-9D29-0E1CF4EA29AF}"/>
          </ac:spMkLst>
        </pc:spChg>
        <pc:spChg chg="mod">
          <ac:chgData name="Elgee, Jeffrey (SPAC/PSPC)" userId="e10f0e9c-c03f-4fde-9113-11216b420c44" providerId="ADAL" clId="{8A22DB22-CE08-4237-BAFA-661B83772496}" dt="2024-06-05T18:33:18.979" v="25" actId="571"/>
          <ac:spMkLst>
            <pc:docMk/>
            <pc:sldMk cId="3194185217" sldId="5000"/>
            <ac:spMk id="95" creationId="{B406834C-98FA-B5CC-19A2-C0A6B60B4A99}"/>
          </ac:spMkLst>
        </pc:spChg>
        <pc:spChg chg="mod">
          <ac:chgData name="Elgee, Jeffrey (SPAC/PSPC)" userId="e10f0e9c-c03f-4fde-9113-11216b420c44" providerId="ADAL" clId="{8A22DB22-CE08-4237-BAFA-661B83772496}" dt="2024-06-05T18:33:18.979" v="25" actId="571"/>
          <ac:spMkLst>
            <pc:docMk/>
            <pc:sldMk cId="3194185217" sldId="5000"/>
            <ac:spMk id="96" creationId="{D23CECA9-93C2-90B1-7592-4A25ED3A0C27}"/>
          </ac:spMkLst>
        </pc:spChg>
        <pc:spChg chg="mod">
          <ac:chgData name="Elgee, Jeffrey (SPAC/PSPC)" userId="e10f0e9c-c03f-4fde-9113-11216b420c44" providerId="ADAL" clId="{8A22DB22-CE08-4237-BAFA-661B83772496}" dt="2024-06-05T18:33:18.979" v="25" actId="571"/>
          <ac:spMkLst>
            <pc:docMk/>
            <pc:sldMk cId="3194185217" sldId="5000"/>
            <ac:spMk id="97" creationId="{D72090B6-A1EC-D213-3FC8-3B15E5F8EE7B}"/>
          </ac:spMkLst>
        </pc:spChg>
        <pc:spChg chg="mod">
          <ac:chgData name="Elgee, Jeffrey (SPAC/PSPC)" userId="e10f0e9c-c03f-4fde-9113-11216b420c44" providerId="ADAL" clId="{8A22DB22-CE08-4237-BAFA-661B83772496}" dt="2024-06-05T18:33:18.979" v="25" actId="571"/>
          <ac:spMkLst>
            <pc:docMk/>
            <pc:sldMk cId="3194185217" sldId="5000"/>
            <ac:spMk id="98" creationId="{ADAB80AC-6DD5-8EE6-B759-3EA42BF3ACFD}"/>
          </ac:spMkLst>
        </pc:spChg>
        <pc:spChg chg="mod">
          <ac:chgData name="Elgee, Jeffrey (SPAC/PSPC)" userId="e10f0e9c-c03f-4fde-9113-11216b420c44" providerId="ADAL" clId="{8A22DB22-CE08-4237-BAFA-661B83772496}" dt="2024-06-05T18:33:18.979" v="25" actId="571"/>
          <ac:spMkLst>
            <pc:docMk/>
            <pc:sldMk cId="3194185217" sldId="5000"/>
            <ac:spMk id="99" creationId="{389D62A2-FE11-DD73-317F-43A87E51B559}"/>
          </ac:spMkLst>
        </pc:spChg>
        <pc:spChg chg="mod">
          <ac:chgData name="Elgee, Jeffrey (SPAC/PSPC)" userId="e10f0e9c-c03f-4fde-9113-11216b420c44" providerId="ADAL" clId="{8A22DB22-CE08-4237-BAFA-661B83772496}" dt="2024-06-05T18:33:18.979" v="25" actId="571"/>
          <ac:spMkLst>
            <pc:docMk/>
            <pc:sldMk cId="3194185217" sldId="5000"/>
            <ac:spMk id="100" creationId="{D91AB6BE-C04A-6C05-113A-8ADF629FDD96}"/>
          </ac:spMkLst>
        </pc:spChg>
        <pc:spChg chg="mod">
          <ac:chgData name="Elgee, Jeffrey (SPAC/PSPC)" userId="e10f0e9c-c03f-4fde-9113-11216b420c44" providerId="ADAL" clId="{8A22DB22-CE08-4237-BAFA-661B83772496}" dt="2024-06-05T18:33:18.979" v="25" actId="571"/>
          <ac:spMkLst>
            <pc:docMk/>
            <pc:sldMk cId="3194185217" sldId="5000"/>
            <ac:spMk id="101" creationId="{D19B3D59-CE70-9AAF-5F4D-AD2B21591581}"/>
          </ac:spMkLst>
        </pc:spChg>
        <pc:spChg chg="mod">
          <ac:chgData name="Elgee, Jeffrey (SPAC/PSPC)" userId="e10f0e9c-c03f-4fde-9113-11216b420c44" providerId="ADAL" clId="{8A22DB22-CE08-4237-BAFA-661B83772496}" dt="2024-06-05T18:33:18.979" v="25" actId="571"/>
          <ac:spMkLst>
            <pc:docMk/>
            <pc:sldMk cId="3194185217" sldId="5000"/>
            <ac:spMk id="102" creationId="{5F15206B-AF40-C0D7-43C0-FCBF2BE3D662}"/>
          </ac:spMkLst>
        </pc:spChg>
        <pc:spChg chg="mod">
          <ac:chgData name="Elgee, Jeffrey (SPAC/PSPC)" userId="e10f0e9c-c03f-4fde-9113-11216b420c44" providerId="ADAL" clId="{8A22DB22-CE08-4237-BAFA-661B83772496}" dt="2024-06-05T18:33:18.979" v="25" actId="571"/>
          <ac:spMkLst>
            <pc:docMk/>
            <pc:sldMk cId="3194185217" sldId="5000"/>
            <ac:spMk id="103" creationId="{73BCBDA4-3439-52CC-0AC5-E9A1BA5136E5}"/>
          </ac:spMkLst>
        </pc:spChg>
        <pc:spChg chg="mod">
          <ac:chgData name="Elgee, Jeffrey (SPAC/PSPC)" userId="e10f0e9c-c03f-4fde-9113-11216b420c44" providerId="ADAL" clId="{8A22DB22-CE08-4237-BAFA-661B83772496}" dt="2024-06-05T18:33:18.979" v="25" actId="571"/>
          <ac:spMkLst>
            <pc:docMk/>
            <pc:sldMk cId="3194185217" sldId="5000"/>
            <ac:spMk id="104" creationId="{3F9EB8F3-DA5A-AF9B-C644-37D3658500E5}"/>
          </ac:spMkLst>
        </pc:spChg>
        <pc:spChg chg="mod">
          <ac:chgData name="Elgee, Jeffrey (SPAC/PSPC)" userId="e10f0e9c-c03f-4fde-9113-11216b420c44" providerId="ADAL" clId="{8A22DB22-CE08-4237-BAFA-661B83772496}" dt="2024-06-05T18:33:18.979" v="25" actId="571"/>
          <ac:spMkLst>
            <pc:docMk/>
            <pc:sldMk cId="3194185217" sldId="5000"/>
            <ac:spMk id="105" creationId="{8BF6627A-8472-6A0E-56EB-E1B3F5F10BD3}"/>
          </ac:spMkLst>
        </pc:spChg>
        <pc:spChg chg="mod">
          <ac:chgData name="Elgee, Jeffrey (SPAC/PSPC)" userId="e10f0e9c-c03f-4fde-9113-11216b420c44" providerId="ADAL" clId="{8A22DB22-CE08-4237-BAFA-661B83772496}" dt="2024-06-05T18:33:18.979" v="25" actId="571"/>
          <ac:spMkLst>
            <pc:docMk/>
            <pc:sldMk cId="3194185217" sldId="5000"/>
            <ac:spMk id="106" creationId="{5DD57F77-E0AF-D320-4623-3869B46E9703}"/>
          </ac:spMkLst>
        </pc:spChg>
        <pc:spChg chg="mod">
          <ac:chgData name="Elgee, Jeffrey (SPAC/PSPC)" userId="e10f0e9c-c03f-4fde-9113-11216b420c44" providerId="ADAL" clId="{8A22DB22-CE08-4237-BAFA-661B83772496}" dt="2024-06-05T18:33:18.979" v="25" actId="571"/>
          <ac:spMkLst>
            <pc:docMk/>
            <pc:sldMk cId="3194185217" sldId="5000"/>
            <ac:spMk id="107" creationId="{DDCD925C-ECC0-F97C-9306-C165B8EA96D1}"/>
          </ac:spMkLst>
        </pc:spChg>
        <pc:spChg chg="mod">
          <ac:chgData name="Elgee, Jeffrey (SPAC/PSPC)" userId="e10f0e9c-c03f-4fde-9113-11216b420c44" providerId="ADAL" clId="{8A22DB22-CE08-4237-BAFA-661B83772496}" dt="2024-06-05T18:33:18.979" v="25" actId="571"/>
          <ac:spMkLst>
            <pc:docMk/>
            <pc:sldMk cId="3194185217" sldId="5000"/>
            <ac:spMk id="108" creationId="{0E77B50D-F610-6699-DC7D-37A5BDDBAE68}"/>
          </ac:spMkLst>
        </pc:spChg>
        <pc:spChg chg="mod">
          <ac:chgData name="Elgee, Jeffrey (SPAC/PSPC)" userId="e10f0e9c-c03f-4fde-9113-11216b420c44" providerId="ADAL" clId="{8A22DB22-CE08-4237-BAFA-661B83772496}" dt="2024-06-05T18:37:55.348" v="43" actId="14100"/>
          <ac:spMkLst>
            <pc:docMk/>
            <pc:sldMk cId="3194185217" sldId="5000"/>
            <ac:spMk id="109" creationId="{8DC427F7-B6DC-88F8-B838-FFA6C60362CF}"/>
          </ac:spMkLst>
        </pc:spChg>
        <pc:spChg chg="add mod">
          <ac:chgData name="Elgee, Jeffrey (SPAC/PSPC)" userId="e10f0e9c-c03f-4fde-9113-11216b420c44" providerId="ADAL" clId="{8A22DB22-CE08-4237-BAFA-661B83772496}" dt="2024-06-05T18:32:13.357" v="14" actId="571"/>
          <ac:spMkLst>
            <pc:docMk/>
            <pc:sldMk cId="3194185217" sldId="5000"/>
            <ac:spMk id="217" creationId="{99EA2EC1-BB97-2C88-818B-1475703F6015}"/>
          </ac:spMkLst>
        </pc:spChg>
        <pc:spChg chg="add mod">
          <ac:chgData name="Elgee, Jeffrey (SPAC/PSPC)" userId="e10f0e9c-c03f-4fde-9113-11216b420c44" providerId="ADAL" clId="{8A22DB22-CE08-4237-BAFA-661B83772496}" dt="2024-06-05T18:32:13.357" v="14" actId="571"/>
          <ac:spMkLst>
            <pc:docMk/>
            <pc:sldMk cId="3194185217" sldId="5000"/>
            <ac:spMk id="218" creationId="{13FF909F-32FD-5F98-B859-417D52CE8E72}"/>
          </ac:spMkLst>
        </pc:spChg>
        <pc:spChg chg="add mod">
          <ac:chgData name="Elgee, Jeffrey (SPAC/PSPC)" userId="e10f0e9c-c03f-4fde-9113-11216b420c44" providerId="ADAL" clId="{8A22DB22-CE08-4237-BAFA-661B83772496}" dt="2024-06-05T18:32:13.357" v="14" actId="571"/>
          <ac:spMkLst>
            <pc:docMk/>
            <pc:sldMk cId="3194185217" sldId="5000"/>
            <ac:spMk id="219" creationId="{D09E03BE-5507-5815-E171-766403FDD677}"/>
          </ac:spMkLst>
        </pc:spChg>
        <pc:spChg chg="add mod">
          <ac:chgData name="Elgee, Jeffrey (SPAC/PSPC)" userId="e10f0e9c-c03f-4fde-9113-11216b420c44" providerId="ADAL" clId="{8A22DB22-CE08-4237-BAFA-661B83772496}" dt="2024-06-05T18:32:13.357" v="14" actId="571"/>
          <ac:spMkLst>
            <pc:docMk/>
            <pc:sldMk cId="3194185217" sldId="5000"/>
            <ac:spMk id="220" creationId="{86E2289E-3BA0-2858-9CD7-57FDCA0A9910}"/>
          </ac:spMkLst>
        </pc:spChg>
        <pc:spChg chg="add mod">
          <ac:chgData name="Elgee, Jeffrey (SPAC/PSPC)" userId="e10f0e9c-c03f-4fde-9113-11216b420c44" providerId="ADAL" clId="{8A22DB22-CE08-4237-BAFA-661B83772496}" dt="2024-06-05T18:32:13.357" v="14" actId="571"/>
          <ac:spMkLst>
            <pc:docMk/>
            <pc:sldMk cId="3194185217" sldId="5000"/>
            <ac:spMk id="221" creationId="{80E135DC-C0E1-1F93-8434-5C0EBD059C6A}"/>
          </ac:spMkLst>
        </pc:spChg>
        <pc:spChg chg="add mod">
          <ac:chgData name="Elgee, Jeffrey (SPAC/PSPC)" userId="e10f0e9c-c03f-4fde-9113-11216b420c44" providerId="ADAL" clId="{8A22DB22-CE08-4237-BAFA-661B83772496}" dt="2024-06-05T18:32:13.357" v="14" actId="571"/>
          <ac:spMkLst>
            <pc:docMk/>
            <pc:sldMk cId="3194185217" sldId="5000"/>
            <ac:spMk id="222" creationId="{FBF3455D-1E83-3BCA-E244-9D8301483CC4}"/>
          </ac:spMkLst>
        </pc:spChg>
        <pc:spChg chg="add mod">
          <ac:chgData name="Elgee, Jeffrey (SPAC/PSPC)" userId="e10f0e9c-c03f-4fde-9113-11216b420c44" providerId="ADAL" clId="{8A22DB22-CE08-4237-BAFA-661B83772496}" dt="2024-06-05T18:33:18.979" v="25" actId="571"/>
          <ac:spMkLst>
            <pc:docMk/>
            <pc:sldMk cId="3194185217" sldId="5000"/>
            <ac:spMk id="223" creationId="{BBC052F8-EF1B-D470-7A9B-B645D01A3F09}"/>
          </ac:spMkLst>
        </pc:spChg>
        <pc:spChg chg="add mod">
          <ac:chgData name="Elgee, Jeffrey (SPAC/PSPC)" userId="e10f0e9c-c03f-4fde-9113-11216b420c44" providerId="ADAL" clId="{8A22DB22-CE08-4237-BAFA-661B83772496}" dt="2024-06-05T18:33:18.979" v="25" actId="571"/>
          <ac:spMkLst>
            <pc:docMk/>
            <pc:sldMk cId="3194185217" sldId="5000"/>
            <ac:spMk id="224" creationId="{E28D3259-58B8-C57F-4EDE-4B458D6576FD}"/>
          </ac:spMkLst>
        </pc:spChg>
        <pc:spChg chg="add mod">
          <ac:chgData name="Elgee, Jeffrey (SPAC/PSPC)" userId="e10f0e9c-c03f-4fde-9113-11216b420c44" providerId="ADAL" clId="{8A22DB22-CE08-4237-BAFA-661B83772496}" dt="2024-06-05T18:33:18.979" v="25" actId="571"/>
          <ac:spMkLst>
            <pc:docMk/>
            <pc:sldMk cId="3194185217" sldId="5000"/>
            <ac:spMk id="225" creationId="{CCBAD9AC-D193-30FA-6A0C-9FD11B8A2857}"/>
          </ac:spMkLst>
        </pc:spChg>
        <pc:spChg chg="add mod">
          <ac:chgData name="Elgee, Jeffrey (SPAC/PSPC)" userId="e10f0e9c-c03f-4fde-9113-11216b420c44" providerId="ADAL" clId="{8A22DB22-CE08-4237-BAFA-661B83772496}" dt="2024-06-05T18:33:18.979" v="25" actId="571"/>
          <ac:spMkLst>
            <pc:docMk/>
            <pc:sldMk cId="3194185217" sldId="5000"/>
            <ac:spMk id="226" creationId="{82179108-C6DE-C38B-248E-1CD78539C462}"/>
          </ac:spMkLst>
        </pc:spChg>
        <pc:spChg chg="mod">
          <ac:chgData name="Elgee, Jeffrey (SPAC/PSPC)" userId="e10f0e9c-c03f-4fde-9113-11216b420c44" providerId="ADAL" clId="{8A22DB22-CE08-4237-BAFA-661B83772496}" dt="2024-06-05T19:12:40.589" v="92" actId="20577"/>
          <ac:spMkLst>
            <pc:docMk/>
            <pc:sldMk cId="3194185217" sldId="5000"/>
            <ac:spMk id="228" creationId="{2C5C7B4D-E0D3-2A6C-661D-EE6F09B9B0CD}"/>
          </ac:spMkLst>
        </pc:spChg>
        <pc:spChg chg="mod">
          <ac:chgData name="Elgee, Jeffrey (SPAC/PSPC)" userId="e10f0e9c-c03f-4fde-9113-11216b420c44" providerId="ADAL" clId="{8A22DB22-CE08-4237-BAFA-661B83772496}" dt="2024-06-05T19:11:56.509" v="77"/>
          <ac:spMkLst>
            <pc:docMk/>
            <pc:sldMk cId="3194185217" sldId="5000"/>
            <ac:spMk id="231" creationId="{6FBD3BC9-B2A2-779B-12B9-885937EE9E25}"/>
          </ac:spMkLst>
        </pc:spChg>
        <pc:spChg chg="mod">
          <ac:chgData name="Elgee, Jeffrey (SPAC/PSPC)" userId="e10f0e9c-c03f-4fde-9113-11216b420c44" providerId="ADAL" clId="{8A22DB22-CE08-4237-BAFA-661B83772496}" dt="2024-06-05T19:11:56.509" v="77"/>
          <ac:spMkLst>
            <pc:docMk/>
            <pc:sldMk cId="3194185217" sldId="5000"/>
            <ac:spMk id="232" creationId="{FF065F58-F2EC-0948-DEE7-13DEBE3A1792}"/>
          </ac:spMkLst>
        </pc:spChg>
        <pc:spChg chg="mod">
          <ac:chgData name="Elgee, Jeffrey (SPAC/PSPC)" userId="e10f0e9c-c03f-4fde-9113-11216b420c44" providerId="ADAL" clId="{8A22DB22-CE08-4237-BAFA-661B83772496}" dt="2024-06-05T19:11:56.509" v="77"/>
          <ac:spMkLst>
            <pc:docMk/>
            <pc:sldMk cId="3194185217" sldId="5000"/>
            <ac:spMk id="233" creationId="{4DB2FB09-DEBD-AFCE-699F-3C6EF9579BC7}"/>
          </ac:spMkLst>
        </pc:spChg>
        <pc:spChg chg="del mod">
          <ac:chgData name="Elgee, Jeffrey (SPAC/PSPC)" userId="e10f0e9c-c03f-4fde-9113-11216b420c44" providerId="ADAL" clId="{8A22DB22-CE08-4237-BAFA-661B83772496}" dt="2024-06-05T20:39:08.172" v="105" actId="478"/>
          <ac:spMkLst>
            <pc:docMk/>
            <pc:sldMk cId="3194185217" sldId="5000"/>
            <ac:spMk id="234" creationId="{FE63E28B-82BC-4A8E-0498-57B4AF27FEC3}"/>
          </ac:spMkLst>
        </pc:spChg>
        <pc:spChg chg="del mod">
          <ac:chgData name="Elgee, Jeffrey (SPAC/PSPC)" userId="e10f0e9c-c03f-4fde-9113-11216b420c44" providerId="ADAL" clId="{8A22DB22-CE08-4237-BAFA-661B83772496}" dt="2024-06-05T20:39:08.172" v="105" actId="478"/>
          <ac:spMkLst>
            <pc:docMk/>
            <pc:sldMk cId="3194185217" sldId="5000"/>
            <ac:spMk id="235" creationId="{55910E4A-762F-D699-2DE0-C90C775F5FE6}"/>
          </ac:spMkLst>
        </pc:spChg>
        <pc:spChg chg="del mod">
          <ac:chgData name="Elgee, Jeffrey (SPAC/PSPC)" userId="e10f0e9c-c03f-4fde-9113-11216b420c44" providerId="ADAL" clId="{8A22DB22-CE08-4237-BAFA-661B83772496}" dt="2024-06-05T20:39:08.172" v="105" actId="478"/>
          <ac:spMkLst>
            <pc:docMk/>
            <pc:sldMk cId="3194185217" sldId="5000"/>
            <ac:spMk id="236" creationId="{FF977502-34E2-F458-9B28-9AF3F24F08E8}"/>
          </ac:spMkLst>
        </pc:spChg>
        <pc:spChg chg="del mod">
          <ac:chgData name="Elgee, Jeffrey (SPAC/PSPC)" userId="e10f0e9c-c03f-4fde-9113-11216b420c44" providerId="ADAL" clId="{8A22DB22-CE08-4237-BAFA-661B83772496}" dt="2024-06-05T20:40:05.421" v="111" actId="478"/>
          <ac:spMkLst>
            <pc:docMk/>
            <pc:sldMk cId="3194185217" sldId="5000"/>
            <ac:spMk id="237" creationId="{FDA2061D-F7B8-69CA-4BE4-3610864E7DF2}"/>
          </ac:spMkLst>
        </pc:spChg>
        <pc:spChg chg="del mod">
          <ac:chgData name="Elgee, Jeffrey (SPAC/PSPC)" userId="e10f0e9c-c03f-4fde-9113-11216b420c44" providerId="ADAL" clId="{8A22DB22-CE08-4237-BAFA-661B83772496}" dt="2024-06-05T20:39:58.097" v="110" actId="478"/>
          <ac:spMkLst>
            <pc:docMk/>
            <pc:sldMk cId="3194185217" sldId="5000"/>
            <ac:spMk id="238" creationId="{AB75D914-B323-5020-2CEB-C5F6BDEB82ED}"/>
          </ac:spMkLst>
        </pc:spChg>
        <pc:spChg chg="del mod">
          <ac:chgData name="Elgee, Jeffrey (SPAC/PSPC)" userId="e10f0e9c-c03f-4fde-9113-11216b420c44" providerId="ADAL" clId="{8A22DB22-CE08-4237-BAFA-661B83772496}" dt="2024-06-05T20:39:33.361" v="106" actId="478"/>
          <ac:spMkLst>
            <pc:docMk/>
            <pc:sldMk cId="3194185217" sldId="5000"/>
            <ac:spMk id="239" creationId="{A0710CC4-E0AF-CDFC-0E22-3A1ABFB2F146}"/>
          </ac:spMkLst>
        </pc:spChg>
        <pc:spChg chg="del mod">
          <ac:chgData name="Elgee, Jeffrey (SPAC/PSPC)" userId="e10f0e9c-c03f-4fde-9113-11216b420c44" providerId="ADAL" clId="{8A22DB22-CE08-4237-BAFA-661B83772496}" dt="2024-06-05T20:39:33.361" v="106" actId="478"/>
          <ac:spMkLst>
            <pc:docMk/>
            <pc:sldMk cId="3194185217" sldId="5000"/>
            <ac:spMk id="240" creationId="{C95A2EE8-CB68-1BCE-761A-E722142C13C9}"/>
          </ac:spMkLst>
        </pc:spChg>
        <pc:spChg chg="del mod">
          <ac:chgData name="Elgee, Jeffrey (SPAC/PSPC)" userId="e10f0e9c-c03f-4fde-9113-11216b420c44" providerId="ADAL" clId="{8A22DB22-CE08-4237-BAFA-661B83772496}" dt="2024-06-05T20:39:33.361" v="106" actId="478"/>
          <ac:spMkLst>
            <pc:docMk/>
            <pc:sldMk cId="3194185217" sldId="5000"/>
            <ac:spMk id="241" creationId="{8C194FB7-9F52-E3EE-7676-17DCDB04AE55}"/>
          </ac:spMkLst>
        </pc:spChg>
        <pc:spChg chg="del mod">
          <ac:chgData name="Elgee, Jeffrey (SPAC/PSPC)" userId="e10f0e9c-c03f-4fde-9113-11216b420c44" providerId="ADAL" clId="{8A22DB22-CE08-4237-BAFA-661B83772496}" dt="2024-06-05T20:39:33.361" v="106" actId="478"/>
          <ac:spMkLst>
            <pc:docMk/>
            <pc:sldMk cId="3194185217" sldId="5000"/>
            <ac:spMk id="242" creationId="{59C71B78-78CB-21FE-BECC-C8E5A4DAD241}"/>
          </ac:spMkLst>
        </pc:spChg>
        <pc:spChg chg="del mod">
          <ac:chgData name="Elgee, Jeffrey (SPAC/PSPC)" userId="e10f0e9c-c03f-4fde-9113-11216b420c44" providerId="ADAL" clId="{8A22DB22-CE08-4237-BAFA-661B83772496}" dt="2024-06-05T20:39:33.361" v="106" actId="478"/>
          <ac:spMkLst>
            <pc:docMk/>
            <pc:sldMk cId="3194185217" sldId="5000"/>
            <ac:spMk id="243" creationId="{A9DABC0A-E359-A5EE-1B11-87E822FCBA40}"/>
          </ac:spMkLst>
        </pc:spChg>
        <pc:spChg chg="del mod">
          <ac:chgData name="Elgee, Jeffrey (SPAC/PSPC)" userId="e10f0e9c-c03f-4fde-9113-11216b420c44" providerId="ADAL" clId="{8A22DB22-CE08-4237-BAFA-661B83772496}" dt="2024-06-05T20:39:49.037" v="107" actId="478"/>
          <ac:spMkLst>
            <pc:docMk/>
            <pc:sldMk cId="3194185217" sldId="5000"/>
            <ac:spMk id="244" creationId="{82C1042D-4A74-A6F2-37D0-AB5E94D9DF87}"/>
          </ac:spMkLst>
        </pc:spChg>
        <pc:spChg chg="del mod">
          <ac:chgData name="Elgee, Jeffrey (SPAC/PSPC)" userId="e10f0e9c-c03f-4fde-9113-11216b420c44" providerId="ADAL" clId="{8A22DB22-CE08-4237-BAFA-661B83772496}" dt="2024-06-05T20:39:49.037" v="107" actId="478"/>
          <ac:spMkLst>
            <pc:docMk/>
            <pc:sldMk cId="3194185217" sldId="5000"/>
            <ac:spMk id="245" creationId="{FF9848DA-E03E-AFA3-4D98-25FCEB329B54}"/>
          </ac:spMkLst>
        </pc:spChg>
        <pc:spChg chg="del mod">
          <ac:chgData name="Elgee, Jeffrey (SPAC/PSPC)" userId="e10f0e9c-c03f-4fde-9113-11216b420c44" providerId="ADAL" clId="{8A22DB22-CE08-4237-BAFA-661B83772496}" dt="2024-06-05T20:39:49.037" v="107" actId="478"/>
          <ac:spMkLst>
            <pc:docMk/>
            <pc:sldMk cId="3194185217" sldId="5000"/>
            <ac:spMk id="246" creationId="{9FAB45F5-2430-C1BE-9545-09B72FADD865}"/>
          </ac:spMkLst>
        </pc:spChg>
        <pc:spChg chg="del mod">
          <ac:chgData name="Elgee, Jeffrey (SPAC/PSPC)" userId="e10f0e9c-c03f-4fde-9113-11216b420c44" providerId="ADAL" clId="{8A22DB22-CE08-4237-BAFA-661B83772496}" dt="2024-06-05T20:39:56.185" v="109" actId="478"/>
          <ac:spMkLst>
            <pc:docMk/>
            <pc:sldMk cId="3194185217" sldId="5000"/>
            <ac:spMk id="247" creationId="{6D3EBD79-AC94-B39D-21DA-1DB8B29A4CE4}"/>
          </ac:spMkLst>
        </pc:spChg>
        <pc:spChg chg="del mod">
          <ac:chgData name="Elgee, Jeffrey (SPAC/PSPC)" userId="e10f0e9c-c03f-4fde-9113-11216b420c44" providerId="ADAL" clId="{8A22DB22-CE08-4237-BAFA-661B83772496}" dt="2024-06-05T20:39:53.985" v="108" actId="478"/>
          <ac:spMkLst>
            <pc:docMk/>
            <pc:sldMk cId="3194185217" sldId="5000"/>
            <ac:spMk id="248" creationId="{BB279B71-C29A-77B4-D5B5-3371EFEC7F1C}"/>
          </ac:spMkLst>
        </pc:spChg>
        <pc:spChg chg="del mod">
          <ac:chgData name="Elgee, Jeffrey (SPAC/PSPC)" userId="e10f0e9c-c03f-4fde-9113-11216b420c44" providerId="ADAL" clId="{8A22DB22-CE08-4237-BAFA-661B83772496}" dt="2024-06-05T20:39:49.037" v="107" actId="478"/>
          <ac:spMkLst>
            <pc:docMk/>
            <pc:sldMk cId="3194185217" sldId="5000"/>
            <ac:spMk id="249" creationId="{6A64C2D4-EDC7-2747-70BF-6D8040EFCB67}"/>
          </ac:spMkLst>
        </pc:spChg>
        <pc:spChg chg="del mod">
          <ac:chgData name="Elgee, Jeffrey (SPAC/PSPC)" userId="e10f0e9c-c03f-4fde-9113-11216b420c44" providerId="ADAL" clId="{8A22DB22-CE08-4237-BAFA-661B83772496}" dt="2024-06-05T20:39:49.037" v="107" actId="478"/>
          <ac:spMkLst>
            <pc:docMk/>
            <pc:sldMk cId="3194185217" sldId="5000"/>
            <ac:spMk id="250" creationId="{64659E4C-ECE6-A12A-3F4E-2CDDABD40012}"/>
          </ac:spMkLst>
        </pc:spChg>
        <pc:spChg chg="del mod">
          <ac:chgData name="Elgee, Jeffrey (SPAC/PSPC)" userId="e10f0e9c-c03f-4fde-9113-11216b420c44" providerId="ADAL" clId="{8A22DB22-CE08-4237-BAFA-661B83772496}" dt="2024-06-05T20:39:08.172" v="105" actId="478"/>
          <ac:spMkLst>
            <pc:docMk/>
            <pc:sldMk cId="3194185217" sldId="5000"/>
            <ac:spMk id="251" creationId="{73C8AFBE-9B47-FEAC-29FD-415F361829A6}"/>
          </ac:spMkLst>
        </pc:spChg>
        <pc:spChg chg="del mod">
          <ac:chgData name="Elgee, Jeffrey (SPAC/PSPC)" userId="e10f0e9c-c03f-4fde-9113-11216b420c44" providerId="ADAL" clId="{8A22DB22-CE08-4237-BAFA-661B83772496}" dt="2024-06-05T20:39:49.037" v="107" actId="478"/>
          <ac:spMkLst>
            <pc:docMk/>
            <pc:sldMk cId="3194185217" sldId="5000"/>
            <ac:spMk id="252" creationId="{349F690C-C6AD-740E-7E9D-07200C0FF371}"/>
          </ac:spMkLst>
        </pc:spChg>
        <pc:spChg chg="del mod">
          <ac:chgData name="Elgee, Jeffrey (SPAC/PSPC)" userId="e10f0e9c-c03f-4fde-9113-11216b420c44" providerId="ADAL" clId="{8A22DB22-CE08-4237-BAFA-661B83772496}" dt="2024-06-05T20:39:49.037" v="107" actId="478"/>
          <ac:spMkLst>
            <pc:docMk/>
            <pc:sldMk cId="3194185217" sldId="5000"/>
            <ac:spMk id="253" creationId="{6906FDE3-6B2B-1D96-CE10-F9F8248A63FB}"/>
          </ac:spMkLst>
        </pc:spChg>
        <pc:spChg chg="del mod">
          <ac:chgData name="Elgee, Jeffrey (SPAC/PSPC)" userId="e10f0e9c-c03f-4fde-9113-11216b420c44" providerId="ADAL" clId="{8A22DB22-CE08-4237-BAFA-661B83772496}" dt="2024-06-05T20:39:33.361" v="106" actId="478"/>
          <ac:spMkLst>
            <pc:docMk/>
            <pc:sldMk cId="3194185217" sldId="5000"/>
            <ac:spMk id="254" creationId="{C8D46164-8A75-9280-997D-16318DB4B75B}"/>
          </ac:spMkLst>
        </pc:spChg>
        <pc:spChg chg="del mod">
          <ac:chgData name="Elgee, Jeffrey (SPAC/PSPC)" userId="e10f0e9c-c03f-4fde-9113-11216b420c44" providerId="ADAL" clId="{8A22DB22-CE08-4237-BAFA-661B83772496}" dt="2024-06-05T20:39:33.361" v="106" actId="478"/>
          <ac:spMkLst>
            <pc:docMk/>
            <pc:sldMk cId="3194185217" sldId="5000"/>
            <ac:spMk id="255" creationId="{5D35C939-558E-48F2-AC90-A5230BE8B87D}"/>
          </ac:spMkLst>
        </pc:spChg>
        <pc:spChg chg="del mod">
          <ac:chgData name="Elgee, Jeffrey (SPAC/PSPC)" userId="e10f0e9c-c03f-4fde-9113-11216b420c44" providerId="ADAL" clId="{8A22DB22-CE08-4237-BAFA-661B83772496}" dt="2024-06-05T20:39:33.361" v="106" actId="478"/>
          <ac:spMkLst>
            <pc:docMk/>
            <pc:sldMk cId="3194185217" sldId="5000"/>
            <ac:spMk id="256" creationId="{3BAAE381-D05E-6702-D2B6-5DE41E147AA4}"/>
          </ac:spMkLst>
        </pc:spChg>
        <pc:spChg chg="del mod">
          <ac:chgData name="Elgee, Jeffrey (SPAC/PSPC)" userId="e10f0e9c-c03f-4fde-9113-11216b420c44" providerId="ADAL" clId="{8A22DB22-CE08-4237-BAFA-661B83772496}" dt="2024-06-05T20:39:33.361" v="106" actId="478"/>
          <ac:spMkLst>
            <pc:docMk/>
            <pc:sldMk cId="3194185217" sldId="5000"/>
            <ac:spMk id="257" creationId="{36B2BC54-C26C-A3A9-22B7-BCCC17D2B817}"/>
          </ac:spMkLst>
        </pc:spChg>
        <pc:spChg chg="del mod">
          <ac:chgData name="Elgee, Jeffrey (SPAC/PSPC)" userId="e10f0e9c-c03f-4fde-9113-11216b420c44" providerId="ADAL" clId="{8A22DB22-CE08-4237-BAFA-661B83772496}" dt="2024-06-05T20:39:33.361" v="106" actId="478"/>
          <ac:spMkLst>
            <pc:docMk/>
            <pc:sldMk cId="3194185217" sldId="5000"/>
            <ac:spMk id="258" creationId="{A3333804-1635-40DE-ECD5-964FDD676641}"/>
          </ac:spMkLst>
        </pc:spChg>
        <pc:spChg chg="del mod">
          <ac:chgData name="Elgee, Jeffrey (SPAC/PSPC)" userId="e10f0e9c-c03f-4fde-9113-11216b420c44" providerId="ADAL" clId="{8A22DB22-CE08-4237-BAFA-661B83772496}" dt="2024-06-05T20:39:33.361" v="106" actId="478"/>
          <ac:spMkLst>
            <pc:docMk/>
            <pc:sldMk cId="3194185217" sldId="5000"/>
            <ac:spMk id="259" creationId="{87E18FCA-22AA-9659-B33A-1905FDDE40B9}"/>
          </ac:spMkLst>
        </pc:spChg>
        <pc:spChg chg="del mod">
          <ac:chgData name="Elgee, Jeffrey (SPAC/PSPC)" userId="e10f0e9c-c03f-4fde-9113-11216b420c44" providerId="ADAL" clId="{8A22DB22-CE08-4237-BAFA-661B83772496}" dt="2024-06-05T20:39:33.361" v="106" actId="478"/>
          <ac:spMkLst>
            <pc:docMk/>
            <pc:sldMk cId="3194185217" sldId="5000"/>
            <ac:spMk id="260" creationId="{1638795A-3ABF-4A23-185D-2E9B22C78F17}"/>
          </ac:spMkLst>
        </pc:spChg>
        <pc:spChg chg="mod">
          <ac:chgData name="Elgee, Jeffrey (SPAC/PSPC)" userId="e10f0e9c-c03f-4fde-9113-11216b420c44" providerId="ADAL" clId="{8A22DB22-CE08-4237-BAFA-661B83772496}" dt="2024-06-05T19:11:56.509" v="77"/>
          <ac:spMkLst>
            <pc:docMk/>
            <pc:sldMk cId="3194185217" sldId="5000"/>
            <ac:spMk id="263" creationId="{D73D1805-F830-5576-8486-46AF09F304F0}"/>
          </ac:spMkLst>
        </pc:spChg>
        <pc:spChg chg="mod">
          <ac:chgData name="Elgee, Jeffrey (SPAC/PSPC)" userId="e10f0e9c-c03f-4fde-9113-11216b420c44" providerId="ADAL" clId="{8A22DB22-CE08-4237-BAFA-661B83772496}" dt="2024-06-05T19:11:56.509" v="77"/>
          <ac:spMkLst>
            <pc:docMk/>
            <pc:sldMk cId="3194185217" sldId="5000"/>
            <ac:spMk id="265" creationId="{1A767E50-0F77-BF9A-2448-3A320B5D26AF}"/>
          </ac:spMkLst>
        </pc:spChg>
        <pc:spChg chg="mod">
          <ac:chgData name="Elgee, Jeffrey (SPAC/PSPC)" userId="e10f0e9c-c03f-4fde-9113-11216b420c44" providerId="ADAL" clId="{8A22DB22-CE08-4237-BAFA-661B83772496}" dt="2024-06-05T19:11:56.509" v="77"/>
          <ac:spMkLst>
            <pc:docMk/>
            <pc:sldMk cId="3194185217" sldId="5000"/>
            <ac:spMk id="266" creationId="{17AFEB20-076E-A228-3226-D82B48759F71}"/>
          </ac:spMkLst>
        </pc:spChg>
        <pc:spChg chg="mod">
          <ac:chgData name="Elgee, Jeffrey (SPAC/PSPC)" userId="e10f0e9c-c03f-4fde-9113-11216b420c44" providerId="ADAL" clId="{8A22DB22-CE08-4237-BAFA-661B83772496}" dt="2024-06-05T19:11:56.509" v="77"/>
          <ac:spMkLst>
            <pc:docMk/>
            <pc:sldMk cId="3194185217" sldId="5000"/>
            <ac:spMk id="268" creationId="{258B65CB-D247-F9E1-EDCA-FEA6F66FE970}"/>
          </ac:spMkLst>
        </pc:spChg>
        <pc:spChg chg="mod">
          <ac:chgData name="Elgee, Jeffrey (SPAC/PSPC)" userId="e10f0e9c-c03f-4fde-9113-11216b420c44" providerId="ADAL" clId="{8A22DB22-CE08-4237-BAFA-661B83772496}" dt="2024-06-05T19:11:56.509" v="77"/>
          <ac:spMkLst>
            <pc:docMk/>
            <pc:sldMk cId="3194185217" sldId="5000"/>
            <ac:spMk id="269" creationId="{531B218B-C9A8-F848-9B87-8D658B87F433}"/>
          </ac:spMkLst>
        </pc:spChg>
        <pc:spChg chg="mod">
          <ac:chgData name="Elgee, Jeffrey (SPAC/PSPC)" userId="e10f0e9c-c03f-4fde-9113-11216b420c44" providerId="ADAL" clId="{8A22DB22-CE08-4237-BAFA-661B83772496}" dt="2024-06-05T19:18:32.257" v="95" actId="207"/>
          <ac:spMkLst>
            <pc:docMk/>
            <pc:sldMk cId="3194185217" sldId="5000"/>
            <ac:spMk id="270" creationId="{0BB0B903-0398-1747-E909-63479AA91B94}"/>
          </ac:spMkLst>
        </pc:spChg>
        <pc:spChg chg="mod">
          <ac:chgData name="Elgee, Jeffrey (SPAC/PSPC)" userId="e10f0e9c-c03f-4fde-9113-11216b420c44" providerId="ADAL" clId="{8A22DB22-CE08-4237-BAFA-661B83772496}" dt="2024-06-05T19:11:56.509" v="77"/>
          <ac:spMkLst>
            <pc:docMk/>
            <pc:sldMk cId="3194185217" sldId="5000"/>
            <ac:spMk id="271" creationId="{C1E84DF3-872F-A72C-5659-01A7AD938776}"/>
          </ac:spMkLst>
        </pc:spChg>
        <pc:spChg chg="mod">
          <ac:chgData name="Elgee, Jeffrey (SPAC/PSPC)" userId="e10f0e9c-c03f-4fde-9113-11216b420c44" providerId="ADAL" clId="{8A22DB22-CE08-4237-BAFA-661B83772496}" dt="2024-06-05T19:11:56.509" v="77"/>
          <ac:spMkLst>
            <pc:docMk/>
            <pc:sldMk cId="3194185217" sldId="5000"/>
            <ac:spMk id="272" creationId="{239C2953-20ED-42D4-85A3-0A74D4A3BA40}"/>
          </ac:spMkLst>
        </pc:spChg>
        <pc:spChg chg="mod">
          <ac:chgData name="Elgee, Jeffrey (SPAC/PSPC)" userId="e10f0e9c-c03f-4fde-9113-11216b420c44" providerId="ADAL" clId="{8A22DB22-CE08-4237-BAFA-661B83772496}" dt="2024-06-05T19:11:56.509" v="77"/>
          <ac:spMkLst>
            <pc:docMk/>
            <pc:sldMk cId="3194185217" sldId="5000"/>
            <ac:spMk id="273" creationId="{325B3BC7-41BB-12FE-D668-CB00D156F1F8}"/>
          </ac:spMkLst>
        </pc:spChg>
        <pc:spChg chg="mod">
          <ac:chgData name="Elgee, Jeffrey (SPAC/PSPC)" userId="e10f0e9c-c03f-4fde-9113-11216b420c44" providerId="ADAL" clId="{8A22DB22-CE08-4237-BAFA-661B83772496}" dt="2024-06-05T19:18:40.562" v="97" actId="207"/>
          <ac:spMkLst>
            <pc:docMk/>
            <pc:sldMk cId="3194185217" sldId="5000"/>
            <ac:spMk id="274" creationId="{FD23ED44-65FB-0912-3705-68931A2ECAE1}"/>
          </ac:spMkLst>
        </pc:spChg>
        <pc:spChg chg="mod">
          <ac:chgData name="Elgee, Jeffrey (SPAC/PSPC)" userId="e10f0e9c-c03f-4fde-9113-11216b420c44" providerId="ADAL" clId="{8A22DB22-CE08-4237-BAFA-661B83772496}" dt="2024-06-05T19:11:56.509" v="77"/>
          <ac:spMkLst>
            <pc:docMk/>
            <pc:sldMk cId="3194185217" sldId="5000"/>
            <ac:spMk id="275" creationId="{4E8101E7-3FC2-1CFD-0CD0-1F258075DD63}"/>
          </ac:spMkLst>
        </pc:spChg>
        <pc:spChg chg="mod">
          <ac:chgData name="Elgee, Jeffrey (SPAC/PSPC)" userId="e10f0e9c-c03f-4fde-9113-11216b420c44" providerId="ADAL" clId="{8A22DB22-CE08-4237-BAFA-661B83772496}" dt="2024-06-05T19:18:48.088" v="98" actId="207"/>
          <ac:spMkLst>
            <pc:docMk/>
            <pc:sldMk cId="3194185217" sldId="5000"/>
            <ac:spMk id="276" creationId="{BC3DA3B1-43F3-64FD-7B81-6C468CEEDCD1}"/>
          </ac:spMkLst>
        </pc:spChg>
        <pc:spChg chg="mod">
          <ac:chgData name="Elgee, Jeffrey (SPAC/PSPC)" userId="e10f0e9c-c03f-4fde-9113-11216b420c44" providerId="ADAL" clId="{8A22DB22-CE08-4237-BAFA-661B83772496}" dt="2024-06-05T19:11:56.509" v="77"/>
          <ac:spMkLst>
            <pc:docMk/>
            <pc:sldMk cId="3194185217" sldId="5000"/>
            <ac:spMk id="277" creationId="{7B97C51C-869D-F58B-42FA-0383319230BA}"/>
          </ac:spMkLst>
        </pc:spChg>
        <pc:spChg chg="mod">
          <ac:chgData name="Elgee, Jeffrey (SPAC/PSPC)" userId="e10f0e9c-c03f-4fde-9113-11216b420c44" providerId="ADAL" clId="{8A22DB22-CE08-4237-BAFA-661B83772496}" dt="2024-06-05T19:18:37.229" v="96" actId="207"/>
          <ac:spMkLst>
            <pc:docMk/>
            <pc:sldMk cId="3194185217" sldId="5000"/>
            <ac:spMk id="278" creationId="{F42202AE-E304-7016-92B5-EF7B1A3B4262}"/>
          </ac:spMkLst>
        </pc:spChg>
        <pc:spChg chg="mod">
          <ac:chgData name="Elgee, Jeffrey (SPAC/PSPC)" userId="e10f0e9c-c03f-4fde-9113-11216b420c44" providerId="ADAL" clId="{8A22DB22-CE08-4237-BAFA-661B83772496}" dt="2024-06-05T19:19:02.050" v="99" actId="207"/>
          <ac:spMkLst>
            <pc:docMk/>
            <pc:sldMk cId="3194185217" sldId="5000"/>
            <ac:spMk id="279" creationId="{73A0909A-ED2B-C87B-7CF6-71EDAD8CFF93}"/>
          </ac:spMkLst>
        </pc:spChg>
        <pc:spChg chg="mod">
          <ac:chgData name="Elgee, Jeffrey (SPAC/PSPC)" userId="e10f0e9c-c03f-4fde-9113-11216b420c44" providerId="ADAL" clId="{8A22DB22-CE08-4237-BAFA-661B83772496}" dt="2024-06-05T19:11:56.509" v="77"/>
          <ac:spMkLst>
            <pc:docMk/>
            <pc:sldMk cId="3194185217" sldId="5000"/>
            <ac:spMk id="280" creationId="{7EADF11C-EDAB-EEDF-BA45-B538D967C5FE}"/>
          </ac:spMkLst>
        </pc:spChg>
        <pc:spChg chg="mod">
          <ac:chgData name="Elgee, Jeffrey (SPAC/PSPC)" userId="e10f0e9c-c03f-4fde-9113-11216b420c44" providerId="ADAL" clId="{8A22DB22-CE08-4237-BAFA-661B83772496}" dt="2024-06-05T19:11:56.509" v="77"/>
          <ac:spMkLst>
            <pc:docMk/>
            <pc:sldMk cId="3194185217" sldId="5000"/>
            <ac:spMk id="281" creationId="{129B6DB9-4AD5-62E3-9639-5DA217C6F243}"/>
          </ac:spMkLst>
        </pc:spChg>
        <pc:spChg chg="mod">
          <ac:chgData name="Elgee, Jeffrey (SPAC/PSPC)" userId="e10f0e9c-c03f-4fde-9113-11216b420c44" providerId="ADAL" clId="{8A22DB22-CE08-4237-BAFA-661B83772496}" dt="2024-06-05T19:11:56.509" v="77"/>
          <ac:spMkLst>
            <pc:docMk/>
            <pc:sldMk cId="3194185217" sldId="5000"/>
            <ac:spMk id="282" creationId="{C06F4A97-7C7F-038E-35B2-2F180B5F2728}"/>
          </ac:spMkLst>
        </pc:spChg>
        <pc:spChg chg="mod">
          <ac:chgData name="Elgee, Jeffrey (SPAC/PSPC)" userId="e10f0e9c-c03f-4fde-9113-11216b420c44" providerId="ADAL" clId="{8A22DB22-CE08-4237-BAFA-661B83772496}" dt="2024-06-05T19:11:56.509" v="77"/>
          <ac:spMkLst>
            <pc:docMk/>
            <pc:sldMk cId="3194185217" sldId="5000"/>
            <ac:spMk id="283" creationId="{E49B93A2-878E-9FD3-DB7F-A50CC5A08780}"/>
          </ac:spMkLst>
        </pc:spChg>
        <pc:spChg chg="mod">
          <ac:chgData name="Elgee, Jeffrey (SPAC/PSPC)" userId="e10f0e9c-c03f-4fde-9113-11216b420c44" providerId="ADAL" clId="{8A22DB22-CE08-4237-BAFA-661B83772496}" dt="2024-06-05T19:14:13.989" v="93" actId="207"/>
          <ac:spMkLst>
            <pc:docMk/>
            <pc:sldMk cId="3194185217" sldId="5000"/>
            <ac:spMk id="284" creationId="{E7E32919-A3D2-371F-02E9-51C95F5DD416}"/>
          </ac:spMkLst>
        </pc:spChg>
        <pc:spChg chg="mod">
          <ac:chgData name="Elgee, Jeffrey (SPAC/PSPC)" userId="e10f0e9c-c03f-4fde-9113-11216b420c44" providerId="ADAL" clId="{8A22DB22-CE08-4237-BAFA-661B83772496}" dt="2024-06-05T19:14:13.989" v="93" actId="207"/>
          <ac:spMkLst>
            <pc:docMk/>
            <pc:sldMk cId="3194185217" sldId="5000"/>
            <ac:spMk id="285" creationId="{16404AA8-FF8E-40B6-4022-A3C090A23FA9}"/>
          </ac:spMkLst>
        </pc:spChg>
        <pc:spChg chg="mod">
          <ac:chgData name="Elgee, Jeffrey (SPAC/PSPC)" userId="e10f0e9c-c03f-4fde-9113-11216b420c44" providerId="ADAL" clId="{8A22DB22-CE08-4237-BAFA-661B83772496}" dt="2024-06-05T19:14:13.989" v="93" actId="207"/>
          <ac:spMkLst>
            <pc:docMk/>
            <pc:sldMk cId="3194185217" sldId="5000"/>
            <ac:spMk id="286" creationId="{96729DA1-3915-A587-C4E7-7739DEE662F1}"/>
          </ac:spMkLst>
        </pc:spChg>
        <pc:spChg chg="mod">
          <ac:chgData name="Elgee, Jeffrey (SPAC/PSPC)" userId="e10f0e9c-c03f-4fde-9113-11216b420c44" providerId="ADAL" clId="{8A22DB22-CE08-4237-BAFA-661B83772496}" dt="2024-06-05T19:11:56.509" v="77"/>
          <ac:spMkLst>
            <pc:docMk/>
            <pc:sldMk cId="3194185217" sldId="5000"/>
            <ac:spMk id="287" creationId="{A4513DF9-FEE8-B0EE-C49A-16CCE8083760}"/>
          </ac:spMkLst>
        </pc:spChg>
        <pc:spChg chg="mod">
          <ac:chgData name="Elgee, Jeffrey (SPAC/PSPC)" userId="e10f0e9c-c03f-4fde-9113-11216b420c44" providerId="ADAL" clId="{8A22DB22-CE08-4237-BAFA-661B83772496}" dt="2024-06-05T19:11:56.509" v="77"/>
          <ac:spMkLst>
            <pc:docMk/>
            <pc:sldMk cId="3194185217" sldId="5000"/>
            <ac:spMk id="288" creationId="{1274EF2F-97C7-FD01-3B52-F78BAA6F44F3}"/>
          </ac:spMkLst>
        </pc:spChg>
        <pc:spChg chg="mod">
          <ac:chgData name="Elgee, Jeffrey (SPAC/PSPC)" userId="e10f0e9c-c03f-4fde-9113-11216b420c44" providerId="ADAL" clId="{8A22DB22-CE08-4237-BAFA-661B83772496}" dt="2024-06-05T19:11:56.509" v="77"/>
          <ac:spMkLst>
            <pc:docMk/>
            <pc:sldMk cId="3194185217" sldId="5000"/>
            <ac:spMk id="289" creationId="{4221D947-470C-5A88-4D50-4833A5B70890}"/>
          </ac:spMkLst>
        </pc:spChg>
        <pc:spChg chg="mod">
          <ac:chgData name="Elgee, Jeffrey (SPAC/PSPC)" userId="e10f0e9c-c03f-4fde-9113-11216b420c44" providerId="ADAL" clId="{8A22DB22-CE08-4237-BAFA-661B83772496}" dt="2024-06-05T19:19:05.707" v="100" actId="207"/>
          <ac:spMkLst>
            <pc:docMk/>
            <pc:sldMk cId="3194185217" sldId="5000"/>
            <ac:spMk id="290" creationId="{3677BDF7-7497-A3AA-B43C-BDC81649F70B}"/>
          </ac:spMkLst>
        </pc:spChg>
        <pc:spChg chg="mod">
          <ac:chgData name="Elgee, Jeffrey (SPAC/PSPC)" userId="e10f0e9c-c03f-4fde-9113-11216b420c44" providerId="ADAL" clId="{8A22DB22-CE08-4237-BAFA-661B83772496}" dt="2024-06-05T19:19:09.708" v="101" actId="207"/>
          <ac:spMkLst>
            <pc:docMk/>
            <pc:sldMk cId="3194185217" sldId="5000"/>
            <ac:spMk id="291" creationId="{3720CD43-0D89-998D-0225-4FEC2C93EA5E}"/>
          </ac:spMkLst>
        </pc:spChg>
        <pc:spChg chg="mod">
          <ac:chgData name="Elgee, Jeffrey (SPAC/PSPC)" userId="e10f0e9c-c03f-4fde-9113-11216b420c44" providerId="ADAL" clId="{8A22DB22-CE08-4237-BAFA-661B83772496}" dt="2024-06-05T19:11:56.509" v="77"/>
          <ac:spMkLst>
            <pc:docMk/>
            <pc:sldMk cId="3194185217" sldId="5000"/>
            <ac:spMk id="292" creationId="{A4F493CE-E510-AF43-0BB4-F73F9E0E5863}"/>
          </ac:spMkLst>
        </pc:spChg>
        <pc:spChg chg="mod">
          <ac:chgData name="Elgee, Jeffrey (SPAC/PSPC)" userId="e10f0e9c-c03f-4fde-9113-11216b420c44" providerId="ADAL" clId="{8A22DB22-CE08-4237-BAFA-661B83772496}" dt="2024-06-05T19:14:13.989" v="93" actId="207"/>
          <ac:spMkLst>
            <pc:docMk/>
            <pc:sldMk cId="3194185217" sldId="5000"/>
            <ac:spMk id="293" creationId="{A036B082-257B-D590-20A8-A38E4C380989}"/>
          </ac:spMkLst>
        </pc:spChg>
        <pc:spChg chg="mod">
          <ac:chgData name="Elgee, Jeffrey (SPAC/PSPC)" userId="e10f0e9c-c03f-4fde-9113-11216b420c44" providerId="ADAL" clId="{8A22DB22-CE08-4237-BAFA-661B83772496}" dt="2024-06-05T19:19:13.052" v="102" actId="207"/>
          <ac:spMkLst>
            <pc:docMk/>
            <pc:sldMk cId="3194185217" sldId="5000"/>
            <ac:spMk id="294" creationId="{AD1B518F-B0B9-84B8-C30B-01BABACDC3D1}"/>
          </ac:spMkLst>
        </pc:spChg>
        <pc:spChg chg="mod">
          <ac:chgData name="Elgee, Jeffrey (SPAC/PSPC)" userId="e10f0e9c-c03f-4fde-9113-11216b420c44" providerId="ADAL" clId="{8A22DB22-CE08-4237-BAFA-661B83772496}" dt="2024-06-05T19:11:56.509" v="77"/>
          <ac:spMkLst>
            <pc:docMk/>
            <pc:sldMk cId="3194185217" sldId="5000"/>
            <ac:spMk id="295" creationId="{EB68446C-945A-6ADF-3CE9-D30D879C6230}"/>
          </ac:spMkLst>
        </pc:spChg>
        <pc:spChg chg="mod">
          <ac:chgData name="Elgee, Jeffrey (SPAC/PSPC)" userId="e10f0e9c-c03f-4fde-9113-11216b420c44" providerId="ADAL" clId="{8A22DB22-CE08-4237-BAFA-661B83772496}" dt="2024-06-05T19:11:56.509" v="77"/>
          <ac:spMkLst>
            <pc:docMk/>
            <pc:sldMk cId="3194185217" sldId="5000"/>
            <ac:spMk id="296" creationId="{2492619A-C3B3-556D-BB47-861CDACA10FB}"/>
          </ac:spMkLst>
        </pc:spChg>
        <pc:spChg chg="mod">
          <ac:chgData name="Elgee, Jeffrey (SPAC/PSPC)" userId="e10f0e9c-c03f-4fde-9113-11216b420c44" providerId="ADAL" clId="{8A22DB22-CE08-4237-BAFA-661B83772496}" dt="2024-06-05T20:38:58.325" v="104" actId="207"/>
          <ac:spMkLst>
            <pc:docMk/>
            <pc:sldMk cId="3194185217" sldId="5000"/>
            <ac:spMk id="297" creationId="{C30C9C55-3D44-2CD4-FCA1-D74BADC6B2E4}"/>
          </ac:spMkLst>
        </pc:spChg>
        <pc:spChg chg="mod">
          <ac:chgData name="Elgee, Jeffrey (SPAC/PSPC)" userId="e10f0e9c-c03f-4fde-9113-11216b420c44" providerId="ADAL" clId="{8A22DB22-CE08-4237-BAFA-661B83772496}" dt="2024-06-05T19:14:13.989" v="93" actId="207"/>
          <ac:spMkLst>
            <pc:docMk/>
            <pc:sldMk cId="3194185217" sldId="5000"/>
            <ac:spMk id="298" creationId="{49C95C00-4B7F-CA58-5AF2-082B42759803}"/>
          </ac:spMkLst>
        </pc:spChg>
        <pc:spChg chg="mod">
          <ac:chgData name="Elgee, Jeffrey (SPAC/PSPC)" userId="e10f0e9c-c03f-4fde-9113-11216b420c44" providerId="ADAL" clId="{8A22DB22-CE08-4237-BAFA-661B83772496}" dt="2024-06-05T19:11:56.509" v="77"/>
          <ac:spMkLst>
            <pc:docMk/>
            <pc:sldMk cId="3194185217" sldId="5000"/>
            <ac:spMk id="299" creationId="{DDA29F15-71FD-4003-42A2-886ED3F2FFDA}"/>
          </ac:spMkLst>
        </pc:spChg>
        <pc:spChg chg="mod">
          <ac:chgData name="Elgee, Jeffrey (SPAC/PSPC)" userId="e10f0e9c-c03f-4fde-9113-11216b420c44" providerId="ADAL" clId="{8A22DB22-CE08-4237-BAFA-661B83772496}" dt="2024-06-05T19:11:56.509" v="77"/>
          <ac:spMkLst>
            <pc:docMk/>
            <pc:sldMk cId="3194185217" sldId="5000"/>
            <ac:spMk id="300" creationId="{3B5E7367-27BE-841E-BFF6-2EE465A8DDB3}"/>
          </ac:spMkLst>
        </pc:spChg>
        <pc:spChg chg="mod">
          <ac:chgData name="Elgee, Jeffrey (SPAC/PSPC)" userId="e10f0e9c-c03f-4fde-9113-11216b420c44" providerId="ADAL" clId="{8A22DB22-CE08-4237-BAFA-661B83772496}" dt="2024-06-05T19:14:13.989" v="93" actId="207"/>
          <ac:spMkLst>
            <pc:docMk/>
            <pc:sldMk cId="3194185217" sldId="5000"/>
            <ac:spMk id="301" creationId="{54917BA4-35E9-EC20-1F6B-90754EFA42FF}"/>
          </ac:spMkLst>
        </pc:spChg>
        <pc:spChg chg="mod">
          <ac:chgData name="Elgee, Jeffrey (SPAC/PSPC)" userId="e10f0e9c-c03f-4fde-9113-11216b420c44" providerId="ADAL" clId="{8A22DB22-CE08-4237-BAFA-661B83772496}" dt="2024-06-05T19:14:13.989" v="93" actId="207"/>
          <ac:spMkLst>
            <pc:docMk/>
            <pc:sldMk cId="3194185217" sldId="5000"/>
            <ac:spMk id="302" creationId="{C3416265-BDEF-8331-B39A-01D86E0CB5C6}"/>
          </ac:spMkLst>
        </pc:spChg>
        <pc:spChg chg="mod">
          <ac:chgData name="Elgee, Jeffrey (SPAC/PSPC)" userId="e10f0e9c-c03f-4fde-9113-11216b420c44" providerId="ADAL" clId="{8A22DB22-CE08-4237-BAFA-661B83772496}" dt="2024-06-05T19:11:56.509" v="77"/>
          <ac:spMkLst>
            <pc:docMk/>
            <pc:sldMk cId="3194185217" sldId="5000"/>
            <ac:spMk id="303" creationId="{5C1649E8-3E17-F69A-9C9D-06491250E0B4}"/>
          </ac:spMkLst>
        </pc:spChg>
        <pc:spChg chg="mod">
          <ac:chgData name="Elgee, Jeffrey (SPAC/PSPC)" userId="e10f0e9c-c03f-4fde-9113-11216b420c44" providerId="ADAL" clId="{8A22DB22-CE08-4237-BAFA-661B83772496}" dt="2024-06-05T19:11:56.509" v="77"/>
          <ac:spMkLst>
            <pc:docMk/>
            <pc:sldMk cId="3194185217" sldId="5000"/>
            <ac:spMk id="304" creationId="{8FF39E85-EA61-3AF9-E36F-A2A41D7C536F}"/>
          </ac:spMkLst>
        </pc:spChg>
        <pc:spChg chg="mod">
          <ac:chgData name="Elgee, Jeffrey (SPAC/PSPC)" userId="e10f0e9c-c03f-4fde-9113-11216b420c44" providerId="ADAL" clId="{8A22DB22-CE08-4237-BAFA-661B83772496}" dt="2024-06-05T19:11:56.509" v="77"/>
          <ac:spMkLst>
            <pc:docMk/>
            <pc:sldMk cId="3194185217" sldId="5000"/>
            <ac:spMk id="305" creationId="{FEFE2669-FC11-1E25-1660-19113C3702FD}"/>
          </ac:spMkLst>
        </pc:spChg>
        <pc:spChg chg="mod">
          <ac:chgData name="Elgee, Jeffrey (SPAC/PSPC)" userId="e10f0e9c-c03f-4fde-9113-11216b420c44" providerId="ADAL" clId="{8A22DB22-CE08-4237-BAFA-661B83772496}" dt="2024-06-05T19:14:13.989" v="93" actId="207"/>
          <ac:spMkLst>
            <pc:docMk/>
            <pc:sldMk cId="3194185217" sldId="5000"/>
            <ac:spMk id="306" creationId="{7FC99DFE-CB17-B304-2692-3FD0448BAB43}"/>
          </ac:spMkLst>
        </pc:spChg>
        <pc:spChg chg="mod">
          <ac:chgData name="Elgee, Jeffrey (SPAC/PSPC)" userId="e10f0e9c-c03f-4fde-9113-11216b420c44" providerId="ADAL" clId="{8A22DB22-CE08-4237-BAFA-661B83772496}" dt="2024-06-05T19:11:56.509" v="77"/>
          <ac:spMkLst>
            <pc:docMk/>
            <pc:sldMk cId="3194185217" sldId="5000"/>
            <ac:spMk id="307" creationId="{0F034014-6239-3A54-2E9F-862927701543}"/>
          </ac:spMkLst>
        </pc:spChg>
        <pc:spChg chg="mod">
          <ac:chgData name="Elgee, Jeffrey (SPAC/PSPC)" userId="e10f0e9c-c03f-4fde-9113-11216b420c44" providerId="ADAL" clId="{8A22DB22-CE08-4237-BAFA-661B83772496}" dt="2024-06-05T20:38:54.573" v="103" actId="207"/>
          <ac:spMkLst>
            <pc:docMk/>
            <pc:sldMk cId="3194185217" sldId="5000"/>
            <ac:spMk id="308" creationId="{1D4B8F6B-145B-6B0E-22E7-C36922CADBED}"/>
          </ac:spMkLst>
        </pc:spChg>
        <pc:spChg chg="mod">
          <ac:chgData name="Elgee, Jeffrey (SPAC/PSPC)" userId="e10f0e9c-c03f-4fde-9113-11216b420c44" providerId="ADAL" clId="{8A22DB22-CE08-4237-BAFA-661B83772496}" dt="2024-06-05T19:11:56.509" v="77"/>
          <ac:spMkLst>
            <pc:docMk/>
            <pc:sldMk cId="3194185217" sldId="5000"/>
            <ac:spMk id="309" creationId="{8236CE7B-D61F-E26F-7401-452B27D8DC31}"/>
          </ac:spMkLst>
        </pc:spChg>
        <pc:spChg chg="mod">
          <ac:chgData name="Elgee, Jeffrey (SPAC/PSPC)" userId="e10f0e9c-c03f-4fde-9113-11216b420c44" providerId="ADAL" clId="{8A22DB22-CE08-4237-BAFA-661B83772496}" dt="2024-06-05T19:11:56.509" v="77"/>
          <ac:spMkLst>
            <pc:docMk/>
            <pc:sldMk cId="3194185217" sldId="5000"/>
            <ac:spMk id="310" creationId="{66D5FCE9-5B03-0A50-3AA2-ACC0414A949C}"/>
          </ac:spMkLst>
        </pc:spChg>
        <pc:spChg chg="add mod">
          <ac:chgData name="Elgee, Jeffrey (SPAC/PSPC)" userId="e10f0e9c-c03f-4fde-9113-11216b420c44" providerId="ADAL" clId="{8A22DB22-CE08-4237-BAFA-661B83772496}" dt="2024-06-06T14:17:41.608" v="714" actId="1076"/>
          <ac:spMkLst>
            <pc:docMk/>
            <pc:sldMk cId="3194185217" sldId="5000"/>
            <ac:spMk id="311" creationId="{7F17BAD9-B2D7-AE7A-CCDA-9D497073F97B}"/>
          </ac:spMkLst>
        </pc:spChg>
        <pc:spChg chg="add del mod ord">
          <ac:chgData name="Elgee, Jeffrey (SPAC/PSPC)" userId="e10f0e9c-c03f-4fde-9113-11216b420c44" providerId="ADAL" clId="{8A22DB22-CE08-4237-BAFA-661B83772496}" dt="2024-06-06T14:58:40.515" v="890" actId="478"/>
          <ac:spMkLst>
            <pc:docMk/>
            <pc:sldMk cId="3194185217" sldId="5000"/>
            <ac:spMk id="312" creationId="{069B07EA-B3CB-09DE-5233-1C1AE1F0B8F2}"/>
          </ac:spMkLst>
        </pc:spChg>
        <pc:spChg chg="add del mod ord">
          <ac:chgData name="Elgee, Jeffrey (SPAC/PSPC)" userId="e10f0e9c-c03f-4fde-9113-11216b420c44" providerId="ADAL" clId="{8A22DB22-CE08-4237-BAFA-661B83772496}" dt="2024-06-06T14:58:48.173" v="891" actId="478"/>
          <ac:spMkLst>
            <pc:docMk/>
            <pc:sldMk cId="3194185217" sldId="5000"/>
            <ac:spMk id="313" creationId="{E05D7B36-537E-B229-7E2A-64811EB0EE2C}"/>
          </ac:spMkLst>
        </pc:spChg>
        <pc:grpChg chg="mod">
          <ac:chgData name="Elgee, Jeffrey (SPAC/PSPC)" userId="e10f0e9c-c03f-4fde-9113-11216b420c44" providerId="ADAL" clId="{8A22DB22-CE08-4237-BAFA-661B83772496}" dt="2024-06-05T19:12:26.702" v="81" actId="1076"/>
          <ac:grpSpMkLst>
            <pc:docMk/>
            <pc:sldMk cId="3194185217" sldId="5000"/>
            <ac:grpSpMk id="3" creationId="{EAFCA7DA-B3A3-40D1-F2DD-88BF94C0FDEE}"/>
          </ac:grpSpMkLst>
        </pc:grpChg>
        <pc:grpChg chg="mod">
          <ac:chgData name="Elgee, Jeffrey (SPAC/PSPC)" userId="e10f0e9c-c03f-4fde-9113-11216b420c44" providerId="ADAL" clId="{8A22DB22-CE08-4237-BAFA-661B83772496}" dt="2024-06-05T18:33:18.979" v="25" actId="571"/>
          <ac:grpSpMkLst>
            <pc:docMk/>
            <pc:sldMk cId="3194185217" sldId="5000"/>
            <ac:grpSpMk id="6" creationId="{0DE56BB4-308D-A654-219C-A500E6723FB2}"/>
          </ac:grpSpMkLst>
        </pc:grpChg>
        <pc:grpChg chg="del">
          <ac:chgData name="Elgee, Jeffrey (SPAC/PSPC)" userId="e10f0e9c-c03f-4fde-9113-11216b420c44" providerId="ADAL" clId="{8A22DB22-CE08-4237-BAFA-661B83772496}" dt="2024-06-05T18:31:10.735" v="5" actId="478"/>
          <ac:grpSpMkLst>
            <pc:docMk/>
            <pc:sldMk cId="3194185217" sldId="5000"/>
            <ac:grpSpMk id="7" creationId="{3CE29C31-5266-A23D-B16D-8E36CF33D450}"/>
          </ac:grpSpMkLst>
        </pc:grpChg>
        <pc:grpChg chg="del">
          <ac:chgData name="Elgee, Jeffrey (SPAC/PSPC)" userId="e10f0e9c-c03f-4fde-9113-11216b420c44" providerId="ADAL" clId="{8A22DB22-CE08-4237-BAFA-661B83772496}" dt="2024-06-05T18:31:25.132" v="7" actId="478"/>
          <ac:grpSpMkLst>
            <pc:docMk/>
            <pc:sldMk cId="3194185217" sldId="5000"/>
            <ac:grpSpMk id="10" creationId="{3D5CB0FE-E0FC-FBD6-513D-6DFA83E357B9}"/>
          </ac:grpSpMkLst>
        </pc:grpChg>
        <pc:grpChg chg="mod">
          <ac:chgData name="Elgee, Jeffrey (SPAC/PSPC)" userId="e10f0e9c-c03f-4fde-9113-11216b420c44" providerId="ADAL" clId="{8A22DB22-CE08-4237-BAFA-661B83772496}" dt="2024-06-05T18:33:18.979" v="25" actId="571"/>
          <ac:grpSpMkLst>
            <pc:docMk/>
            <pc:sldMk cId="3194185217" sldId="5000"/>
            <ac:grpSpMk id="13" creationId="{F749FBA4-6C9D-0CDF-7180-93E2D3A08598}"/>
          </ac:grpSpMkLst>
        </pc:grpChg>
        <pc:grpChg chg="del">
          <ac:chgData name="Elgee, Jeffrey (SPAC/PSPC)" userId="e10f0e9c-c03f-4fde-9113-11216b420c44" providerId="ADAL" clId="{8A22DB22-CE08-4237-BAFA-661B83772496}" dt="2024-06-05T18:30:47.411" v="1" actId="478"/>
          <ac:grpSpMkLst>
            <pc:docMk/>
            <pc:sldMk cId="3194185217" sldId="5000"/>
            <ac:grpSpMk id="16" creationId="{AF651BEA-62A1-A2B8-AAC2-489C44D92640}"/>
          </ac:grpSpMkLst>
        </pc:grpChg>
        <pc:grpChg chg="mod">
          <ac:chgData name="Elgee, Jeffrey (SPAC/PSPC)" userId="e10f0e9c-c03f-4fde-9113-11216b420c44" providerId="ADAL" clId="{8A22DB22-CE08-4237-BAFA-661B83772496}" dt="2024-06-05T18:33:18.979" v="25" actId="571"/>
          <ac:grpSpMkLst>
            <pc:docMk/>
            <pc:sldMk cId="3194185217" sldId="5000"/>
            <ac:grpSpMk id="60" creationId="{82FE7FD9-8BD5-08EF-9E22-AFEFFCC4C5B5}"/>
          </ac:grpSpMkLst>
        </pc:grpChg>
        <pc:grpChg chg="mod">
          <ac:chgData name="Elgee, Jeffrey (SPAC/PSPC)" userId="e10f0e9c-c03f-4fde-9113-11216b420c44" providerId="ADAL" clId="{8A22DB22-CE08-4237-BAFA-661B83772496}" dt="2024-06-05T18:33:18.979" v="25" actId="571"/>
          <ac:grpSpMkLst>
            <pc:docMk/>
            <pc:sldMk cId="3194185217" sldId="5000"/>
            <ac:grpSpMk id="63" creationId="{1F253533-8F61-A98F-A047-62E035D20E2F}"/>
          </ac:grpSpMkLst>
        </pc:grpChg>
        <pc:grpChg chg="mod">
          <ac:chgData name="Elgee, Jeffrey (SPAC/PSPC)" userId="e10f0e9c-c03f-4fde-9113-11216b420c44" providerId="ADAL" clId="{8A22DB22-CE08-4237-BAFA-661B83772496}" dt="2024-06-05T18:33:18.979" v="25" actId="571"/>
          <ac:grpSpMkLst>
            <pc:docMk/>
            <pc:sldMk cId="3194185217" sldId="5000"/>
            <ac:grpSpMk id="66" creationId="{B5065F49-4327-3E58-27D6-B67BE6060D1F}"/>
          </ac:grpSpMkLst>
        </pc:grpChg>
        <pc:grpChg chg="del">
          <ac:chgData name="Elgee, Jeffrey (SPAC/PSPC)" userId="e10f0e9c-c03f-4fde-9113-11216b420c44" providerId="ADAL" clId="{8A22DB22-CE08-4237-BAFA-661B83772496}" dt="2024-06-05T19:12:03.781" v="79" actId="478"/>
          <ac:grpSpMkLst>
            <pc:docMk/>
            <pc:sldMk cId="3194185217" sldId="5000"/>
            <ac:grpSpMk id="110" creationId="{1CB9BAB3-39DC-FD22-E6E1-937E3162FB5C}"/>
          </ac:grpSpMkLst>
        </pc:grpChg>
        <pc:grpChg chg="add mod">
          <ac:chgData name="Elgee, Jeffrey (SPAC/PSPC)" userId="e10f0e9c-c03f-4fde-9113-11216b420c44" providerId="ADAL" clId="{8A22DB22-CE08-4237-BAFA-661B83772496}" dt="2024-06-05T19:12:32.102" v="82" actId="1076"/>
          <ac:grpSpMkLst>
            <pc:docMk/>
            <pc:sldMk cId="3194185217" sldId="5000"/>
            <ac:grpSpMk id="227" creationId="{CD4E07AF-5600-82A3-E8AC-221858721018}"/>
          </ac:grpSpMkLst>
        </pc:grpChg>
        <pc:grpChg chg="mod">
          <ac:chgData name="Elgee, Jeffrey (SPAC/PSPC)" userId="e10f0e9c-c03f-4fde-9113-11216b420c44" providerId="ADAL" clId="{8A22DB22-CE08-4237-BAFA-661B83772496}" dt="2024-06-05T19:11:56.509" v="77"/>
          <ac:grpSpMkLst>
            <pc:docMk/>
            <pc:sldMk cId="3194185217" sldId="5000"/>
            <ac:grpSpMk id="229" creationId="{55ED023E-A6E0-9EC6-D06E-3F984796C7DA}"/>
          </ac:grpSpMkLst>
        </pc:grpChg>
        <pc:grpChg chg="mod">
          <ac:chgData name="Elgee, Jeffrey (SPAC/PSPC)" userId="e10f0e9c-c03f-4fde-9113-11216b420c44" providerId="ADAL" clId="{8A22DB22-CE08-4237-BAFA-661B83772496}" dt="2024-06-05T19:11:56.509" v="77"/>
          <ac:grpSpMkLst>
            <pc:docMk/>
            <pc:sldMk cId="3194185217" sldId="5000"/>
            <ac:grpSpMk id="230" creationId="{1C4847AD-FE06-E551-7752-60670ECFA86A}"/>
          </ac:grpSpMkLst>
        </pc:grpChg>
        <pc:grpChg chg="mod">
          <ac:chgData name="Elgee, Jeffrey (SPAC/PSPC)" userId="e10f0e9c-c03f-4fde-9113-11216b420c44" providerId="ADAL" clId="{8A22DB22-CE08-4237-BAFA-661B83772496}" dt="2024-06-05T19:11:56.509" v="77"/>
          <ac:grpSpMkLst>
            <pc:docMk/>
            <pc:sldMk cId="3194185217" sldId="5000"/>
            <ac:grpSpMk id="261" creationId="{84687D3C-FA6B-460B-01F4-4DAD9CC781A5}"/>
          </ac:grpSpMkLst>
        </pc:grpChg>
        <pc:grpChg chg="mod">
          <ac:chgData name="Elgee, Jeffrey (SPAC/PSPC)" userId="e10f0e9c-c03f-4fde-9113-11216b420c44" providerId="ADAL" clId="{8A22DB22-CE08-4237-BAFA-661B83772496}" dt="2024-06-05T19:11:56.509" v="77"/>
          <ac:grpSpMkLst>
            <pc:docMk/>
            <pc:sldMk cId="3194185217" sldId="5000"/>
            <ac:grpSpMk id="264" creationId="{C43026BC-7468-7C75-B9A5-92293150B486}"/>
          </ac:grpSpMkLst>
        </pc:grpChg>
        <pc:grpChg chg="mod">
          <ac:chgData name="Elgee, Jeffrey (SPAC/PSPC)" userId="e10f0e9c-c03f-4fde-9113-11216b420c44" providerId="ADAL" clId="{8A22DB22-CE08-4237-BAFA-661B83772496}" dt="2024-06-05T19:11:56.509" v="77"/>
          <ac:grpSpMkLst>
            <pc:docMk/>
            <pc:sldMk cId="3194185217" sldId="5000"/>
            <ac:grpSpMk id="267" creationId="{E4D23994-3511-2B97-4899-ED589D1D8E98}"/>
          </ac:grpSpMkLst>
        </pc:grpChg>
        <pc:picChg chg="del">
          <ac:chgData name="Elgee, Jeffrey (SPAC/PSPC)" userId="e10f0e9c-c03f-4fde-9113-11216b420c44" providerId="ADAL" clId="{8A22DB22-CE08-4237-BAFA-661B83772496}" dt="2024-06-05T18:31:35.243" v="9" actId="478"/>
          <ac:picMkLst>
            <pc:docMk/>
            <pc:sldMk cId="3194185217" sldId="5000"/>
            <ac:picMk id="9" creationId="{9F8A92B7-6443-26F8-64F5-FA19B8FA9AF0}"/>
          </ac:picMkLst>
        </pc:picChg>
        <pc:picChg chg="del">
          <ac:chgData name="Elgee, Jeffrey (SPAC/PSPC)" userId="e10f0e9c-c03f-4fde-9113-11216b420c44" providerId="ADAL" clId="{8A22DB22-CE08-4237-BAFA-661B83772496}" dt="2024-06-05T18:31:10.735" v="5" actId="478"/>
          <ac:picMkLst>
            <pc:docMk/>
            <pc:sldMk cId="3194185217" sldId="5000"/>
            <ac:picMk id="11" creationId="{643117AF-11BB-4D82-F9B1-D3525CF74A00}"/>
          </ac:picMkLst>
        </pc:picChg>
        <pc:picChg chg="mod">
          <ac:chgData name="Elgee, Jeffrey (SPAC/PSPC)" userId="e10f0e9c-c03f-4fde-9113-11216b420c44" providerId="ADAL" clId="{8A22DB22-CE08-4237-BAFA-661B83772496}" dt="2024-06-05T18:33:18.979" v="25" actId="571"/>
          <ac:picMkLst>
            <pc:docMk/>
            <pc:sldMk cId="3194185217" sldId="5000"/>
            <ac:picMk id="61" creationId="{32F0EB88-3179-2E20-D0A5-98588731AA8B}"/>
          </ac:picMkLst>
        </pc:picChg>
        <pc:picChg chg="mod">
          <ac:chgData name="Elgee, Jeffrey (SPAC/PSPC)" userId="e10f0e9c-c03f-4fde-9113-11216b420c44" providerId="ADAL" clId="{8A22DB22-CE08-4237-BAFA-661B83772496}" dt="2024-06-05T19:11:56.509" v="77"/>
          <ac:picMkLst>
            <pc:docMk/>
            <pc:sldMk cId="3194185217" sldId="5000"/>
            <ac:picMk id="262" creationId="{A27F34E5-B66C-61A7-94D0-C691541E6BFF}"/>
          </ac:picMkLst>
        </pc:picChg>
        <pc:extLst>
          <p:ext xmlns:p="http://schemas.openxmlformats.org/presentationml/2006/main" uri="{D6D511B9-2390-475A-947B-AFAB55BFBCF1}">
            <pc226:cmChg xmlns:pc226="http://schemas.microsoft.com/office/powerpoint/2022/06/main/command" chg="">
              <pc226:chgData name="Elgee, Jeffrey (SPAC/PSPC)" userId="e10f0e9c-c03f-4fde-9113-11216b420c44" providerId="ADAL" clId="{8A22DB22-CE08-4237-BAFA-661B83772496}" dt="2024-06-11T14:21:12.428" v="3172"/>
              <pc2:cmMkLst xmlns:pc2="http://schemas.microsoft.com/office/powerpoint/2019/9/main/command">
                <pc:docMk/>
                <pc:sldMk cId="3194185217" sldId="5000"/>
                <pc2:cmMk id="{D8AF41D7-EAFF-41AE-AAA6-A98B0A870B29}"/>
              </pc2:cmMkLst>
              <pc226:cmRplyChg chg="add">
                <pc226:chgData name="Elgee, Jeffrey (SPAC/PSPC)" userId="e10f0e9c-c03f-4fde-9113-11216b420c44" providerId="ADAL" clId="{8A22DB22-CE08-4237-BAFA-661B83772496}" dt="2024-06-11T14:21:12.428" v="3172"/>
                <pc2:cmRplyMkLst xmlns:pc2="http://schemas.microsoft.com/office/powerpoint/2019/9/main/command">
                  <pc:docMk/>
                  <pc:sldMk cId="3194185217" sldId="5000"/>
                  <pc2:cmMk id="{D8AF41D7-EAFF-41AE-AAA6-A98B0A870B29}"/>
                  <pc2:cmRplyMk id="{1765C995-E2BA-40BE-A0E4-0984C3C45630}"/>
                </pc2:cmRplyMkLst>
              </pc226:cmRplyChg>
            </pc226:cmChg>
          </p:ext>
        </pc:extLst>
      </pc:sldChg>
      <pc:sldChg chg="del">
        <pc:chgData name="Elgee, Jeffrey (SPAC/PSPC)" userId="e10f0e9c-c03f-4fde-9113-11216b420c44" providerId="ADAL" clId="{8A22DB22-CE08-4237-BAFA-661B83772496}" dt="2024-06-05T20:54:58.546" v="283" actId="2696"/>
        <pc:sldMkLst>
          <pc:docMk/>
          <pc:sldMk cId="518497710" sldId="5001"/>
        </pc:sldMkLst>
      </pc:sldChg>
      <pc:sldChg chg="addSp delSp modSp add mod modClrScheme addCm chgLayout modNotesTx">
        <pc:chgData name="Elgee, Jeffrey (SPAC/PSPC)" userId="e10f0e9c-c03f-4fde-9113-11216b420c44" providerId="ADAL" clId="{8A22DB22-CE08-4237-BAFA-661B83772496}" dt="2024-06-12T13:41:45.679" v="3214"/>
        <pc:sldMkLst>
          <pc:docMk/>
          <pc:sldMk cId="1651678227" sldId="5001"/>
        </pc:sldMkLst>
        <pc:spChg chg="mod ord">
          <ac:chgData name="Elgee, Jeffrey (SPAC/PSPC)" userId="e10f0e9c-c03f-4fde-9113-11216b420c44" providerId="ADAL" clId="{8A22DB22-CE08-4237-BAFA-661B83772496}" dt="2024-06-06T14:56:21.771" v="877" actId="700"/>
          <ac:spMkLst>
            <pc:docMk/>
            <pc:sldMk cId="1651678227" sldId="5001"/>
            <ac:spMk id="2" creationId="{A08B4284-4C03-05F5-D379-8D8D6E310467}"/>
          </ac:spMkLst>
        </pc:spChg>
        <pc:spChg chg="add del mod ord">
          <ac:chgData name="Elgee, Jeffrey (SPAC/PSPC)" userId="e10f0e9c-c03f-4fde-9113-11216b420c44" providerId="ADAL" clId="{8A22DB22-CE08-4237-BAFA-661B83772496}" dt="2024-06-06T14:56:30.775" v="878" actId="478"/>
          <ac:spMkLst>
            <pc:docMk/>
            <pc:sldMk cId="1651678227" sldId="5001"/>
            <ac:spMk id="49" creationId="{57F10F23-E045-096C-B42C-4B6551449D8A}"/>
          </ac:spMkLst>
        </pc:spChg>
        <pc:spChg chg="add del mod ord">
          <ac:chgData name="Elgee, Jeffrey (SPAC/PSPC)" userId="e10f0e9c-c03f-4fde-9113-11216b420c44" providerId="ADAL" clId="{8A22DB22-CE08-4237-BAFA-661B83772496}" dt="2024-06-06T14:56:34.348" v="879" actId="478"/>
          <ac:spMkLst>
            <pc:docMk/>
            <pc:sldMk cId="1651678227" sldId="5001"/>
            <ac:spMk id="50" creationId="{89E7363A-F325-61A3-08B1-ACDBE8B7B8D9}"/>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1:45.679" v="3214"/>
              <pc2:cmMkLst xmlns:pc2="http://schemas.microsoft.com/office/powerpoint/2019/9/main/command">
                <pc:docMk/>
                <pc:sldMk cId="1651678227" sldId="5001"/>
                <pc2:cmMk id="{19123664-81CC-4E3E-914B-A37638716EF6}"/>
              </pc2:cmMkLst>
            </pc226:cmChg>
          </p:ext>
        </pc:extLst>
      </pc:sldChg>
      <pc:sldChg chg="del">
        <pc:chgData name="Elgee, Jeffrey (SPAC/PSPC)" userId="e10f0e9c-c03f-4fde-9113-11216b420c44" providerId="ADAL" clId="{8A22DB22-CE08-4237-BAFA-661B83772496}" dt="2024-06-07T18:41:21.536" v="1785" actId="47"/>
        <pc:sldMkLst>
          <pc:docMk/>
          <pc:sldMk cId="677863844" sldId="5002"/>
        </pc:sldMkLst>
      </pc:sldChg>
      <pc:sldChg chg="mod modShow">
        <pc:chgData name="Elgee, Jeffrey (SPAC/PSPC)" userId="e10f0e9c-c03f-4fde-9113-11216b420c44" providerId="ADAL" clId="{8A22DB22-CE08-4237-BAFA-661B83772496}" dt="2024-06-06T15:02:23.480" v="897" actId="729"/>
        <pc:sldMkLst>
          <pc:docMk/>
          <pc:sldMk cId="1903397118" sldId="5004"/>
        </pc:sldMkLst>
      </pc:sldChg>
      <pc:sldChg chg="mod modShow">
        <pc:chgData name="Elgee, Jeffrey (SPAC/PSPC)" userId="e10f0e9c-c03f-4fde-9113-11216b420c44" providerId="ADAL" clId="{8A22DB22-CE08-4237-BAFA-661B83772496}" dt="2024-06-06T15:02:23.480" v="897" actId="729"/>
        <pc:sldMkLst>
          <pc:docMk/>
          <pc:sldMk cId="3820944322" sldId="5005"/>
        </pc:sldMkLst>
      </pc:sldChg>
      <pc:sldChg chg="addSp delSp modSp new mod modClrScheme chgLayout modNotesTx">
        <pc:chgData name="Elgee, Jeffrey (SPAC/PSPC)" userId="e10f0e9c-c03f-4fde-9113-11216b420c44" providerId="ADAL" clId="{8A22DB22-CE08-4237-BAFA-661B83772496}" dt="2024-06-06T15:02:48.185" v="905" actId="20577"/>
        <pc:sldMkLst>
          <pc:docMk/>
          <pc:sldMk cId="1601877447" sldId="5006"/>
        </pc:sldMkLst>
        <pc:spChg chg="mod ord">
          <ac:chgData name="Elgee, Jeffrey (SPAC/PSPC)" userId="e10f0e9c-c03f-4fde-9113-11216b420c44" providerId="ADAL" clId="{8A22DB22-CE08-4237-BAFA-661B83772496}" dt="2024-06-06T14:34:31.959" v="874" actId="700"/>
          <ac:spMkLst>
            <pc:docMk/>
            <pc:sldMk cId="1601877447" sldId="5006"/>
            <ac:spMk id="2" creationId="{275AA91C-99CC-46FC-75BD-EEEF7FC9C76D}"/>
          </ac:spMkLst>
        </pc:spChg>
        <pc:spChg chg="add mod">
          <ac:chgData name="Elgee, Jeffrey (SPAC/PSPC)" userId="e10f0e9c-c03f-4fde-9113-11216b420c44" providerId="ADAL" clId="{8A22DB22-CE08-4237-BAFA-661B83772496}" dt="2024-06-06T15:02:48.185" v="905" actId="20577"/>
          <ac:spMkLst>
            <pc:docMk/>
            <pc:sldMk cId="1601877447" sldId="5006"/>
            <ac:spMk id="3" creationId="{47E30C84-4D17-AF02-DA40-A81607D74A4F}"/>
          </ac:spMkLst>
        </pc:spChg>
        <pc:spChg chg="add del mod ord">
          <ac:chgData name="Elgee, Jeffrey (SPAC/PSPC)" userId="e10f0e9c-c03f-4fde-9113-11216b420c44" providerId="ADAL" clId="{8A22DB22-CE08-4237-BAFA-661B83772496}" dt="2024-06-06T14:34:37.240" v="875" actId="478"/>
          <ac:spMkLst>
            <pc:docMk/>
            <pc:sldMk cId="1601877447" sldId="5006"/>
            <ac:spMk id="4" creationId="{DECB0C92-F9DB-23DE-8725-F98CC4756648}"/>
          </ac:spMkLst>
        </pc:spChg>
        <pc:spChg chg="add del mod ord">
          <ac:chgData name="Elgee, Jeffrey (SPAC/PSPC)" userId="e10f0e9c-c03f-4fde-9113-11216b420c44" providerId="ADAL" clId="{8A22DB22-CE08-4237-BAFA-661B83772496}" dt="2024-06-06T14:34:40.703" v="876" actId="478"/>
          <ac:spMkLst>
            <pc:docMk/>
            <pc:sldMk cId="1601877447" sldId="5006"/>
            <ac:spMk id="5" creationId="{E84C7FE5-FC66-B454-77C6-8A345AB41612}"/>
          </ac:spMkLst>
        </pc:spChg>
      </pc:sldChg>
      <pc:sldChg chg="addSp delSp new del mod">
        <pc:chgData name="Elgee, Jeffrey (SPAC/PSPC)" userId="e10f0e9c-c03f-4fde-9113-11216b420c44" providerId="ADAL" clId="{8A22DB22-CE08-4237-BAFA-661B83772496}" dt="2024-06-06T18:53:57.775" v="1410" actId="47"/>
        <pc:sldMkLst>
          <pc:docMk/>
          <pc:sldMk cId="3350132999" sldId="5007"/>
        </pc:sldMkLst>
        <pc:spChg chg="add del">
          <ac:chgData name="Elgee, Jeffrey (SPAC/PSPC)" userId="e10f0e9c-c03f-4fde-9113-11216b420c44" providerId="ADAL" clId="{8A22DB22-CE08-4237-BAFA-661B83772496}" dt="2024-06-06T17:45:31.314" v="909" actId="478"/>
          <ac:spMkLst>
            <pc:docMk/>
            <pc:sldMk cId="3350132999" sldId="5007"/>
            <ac:spMk id="7" creationId="{DB0E6EF0-01F5-DD71-C15D-7F364AEF76E8}"/>
          </ac:spMkLst>
        </pc:spChg>
        <pc:inkChg chg="add del">
          <ac:chgData name="Elgee, Jeffrey (SPAC/PSPC)" userId="e10f0e9c-c03f-4fde-9113-11216b420c44" providerId="ADAL" clId="{8A22DB22-CE08-4237-BAFA-661B83772496}" dt="2024-06-06T17:46:49.501" v="911" actId="9405"/>
          <ac:inkMkLst>
            <pc:docMk/>
            <pc:sldMk cId="3350132999" sldId="5007"/>
            <ac:inkMk id="8" creationId="{13155F75-F614-654B-E9D7-BBC213044CCE}"/>
          </ac:inkMkLst>
        </pc:inkChg>
        <pc:inkChg chg="add">
          <ac:chgData name="Elgee, Jeffrey (SPAC/PSPC)" userId="e10f0e9c-c03f-4fde-9113-11216b420c44" providerId="ADAL" clId="{8A22DB22-CE08-4237-BAFA-661B83772496}" dt="2024-06-06T17:59:48.951" v="912" actId="9405"/>
          <ac:inkMkLst>
            <pc:docMk/>
            <pc:sldMk cId="3350132999" sldId="5007"/>
            <ac:inkMk id="9" creationId="{62FAE120-9E58-FDFD-2932-18D87397120A}"/>
          </ac:inkMkLst>
        </pc:inkChg>
      </pc:sldChg>
      <pc:sldChg chg="new del">
        <pc:chgData name="Elgee, Jeffrey (SPAC/PSPC)" userId="e10f0e9c-c03f-4fde-9113-11216b420c44" providerId="ADAL" clId="{8A22DB22-CE08-4237-BAFA-661B83772496}" dt="2024-06-06T18:53:27.402" v="1409" actId="47"/>
        <pc:sldMkLst>
          <pc:docMk/>
          <pc:sldMk cId="2392695287" sldId="5008"/>
        </pc:sldMkLst>
      </pc:sldChg>
      <pc:sldChg chg="addSp modSp add mod modNotesTx">
        <pc:chgData name="Elgee, Jeffrey (SPAC/PSPC)" userId="e10f0e9c-c03f-4fde-9113-11216b420c44" providerId="ADAL" clId="{8A22DB22-CE08-4237-BAFA-661B83772496}" dt="2024-06-10T20:05:51.877" v="2550" actId="20577"/>
        <pc:sldMkLst>
          <pc:docMk/>
          <pc:sldMk cId="257696756" sldId="5009"/>
        </pc:sldMkLst>
        <pc:spChg chg="add mod">
          <ac:chgData name="Elgee, Jeffrey (SPAC/PSPC)" userId="e10f0e9c-c03f-4fde-9113-11216b420c44" providerId="ADAL" clId="{8A22DB22-CE08-4237-BAFA-661B83772496}" dt="2024-06-06T18:35:15.458" v="1395" actId="20577"/>
          <ac:spMkLst>
            <pc:docMk/>
            <pc:sldMk cId="257696756" sldId="5009"/>
            <ac:spMk id="2" creationId="{D960D336-DD27-5679-AECF-6C13D8155F68}"/>
          </ac:spMkLst>
        </pc:spChg>
        <pc:spChg chg="mod">
          <ac:chgData name="Elgee, Jeffrey (SPAC/PSPC)" userId="e10f0e9c-c03f-4fde-9113-11216b420c44" providerId="ADAL" clId="{8A22DB22-CE08-4237-BAFA-661B83772496}" dt="2024-06-06T18:29:35.148" v="1311" actId="207"/>
          <ac:spMkLst>
            <pc:docMk/>
            <pc:sldMk cId="257696756" sldId="5009"/>
            <ac:spMk id="10" creationId="{3D47C0AB-1ACB-3694-CE31-D36104FDCD68}"/>
          </ac:spMkLst>
        </pc:spChg>
        <pc:spChg chg="mod">
          <ac:chgData name="Elgee, Jeffrey (SPAC/PSPC)" userId="e10f0e9c-c03f-4fde-9113-11216b420c44" providerId="ADAL" clId="{8A22DB22-CE08-4237-BAFA-661B83772496}" dt="2024-06-06T18:29:46.188" v="1313" actId="208"/>
          <ac:spMkLst>
            <pc:docMk/>
            <pc:sldMk cId="257696756" sldId="5009"/>
            <ac:spMk id="40" creationId="{82E706F3-FA6A-1345-B840-7541D93DEE0B}"/>
          </ac:spMkLst>
        </pc:spChg>
        <pc:spChg chg="mod">
          <ac:chgData name="Elgee, Jeffrey (SPAC/PSPC)" userId="e10f0e9c-c03f-4fde-9113-11216b420c44" providerId="ADAL" clId="{8A22DB22-CE08-4237-BAFA-661B83772496}" dt="2024-06-06T18:30:46.350" v="1320" actId="207"/>
          <ac:spMkLst>
            <pc:docMk/>
            <pc:sldMk cId="257696756" sldId="5009"/>
            <ac:spMk id="51" creationId="{A42873D4-5793-384D-9BE3-818F527827B0}"/>
          </ac:spMkLst>
        </pc:spChg>
        <pc:spChg chg="mod">
          <ac:chgData name="Elgee, Jeffrey (SPAC/PSPC)" userId="e10f0e9c-c03f-4fde-9113-11216b420c44" providerId="ADAL" clId="{8A22DB22-CE08-4237-BAFA-661B83772496}" dt="2024-06-06T18:30:32.135" v="1319" actId="207"/>
          <ac:spMkLst>
            <pc:docMk/>
            <pc:sldMk cId="257696756" sldId="5009"/>
            <ac:spMk id="52" creationId="{E504786C-20B8-044D-B38E-955BC8F44CEA}"/>
          </ac:spMkLst>
        </pc:spChg>
        <pc:spChg chg="mod">
          <ac:chgData name="Elgee, Jeffrey (SPAC/PSPC)" userId="e10f0e9c-c03f-4fde-9113-11216b420c44" providerId="ADAL" clId="{8A22DB22-CE08-4237-BAFA-661B83772496}" dt="2024-06-06T18:29:57.856" v="1315" actId="207"/>
          <ac:spMkLst>
            <pc:docMk/>
            <pc:sldMk cId="257696756" sldId="5009"/>
            <ac:spMk id="54" creationId="{5490FC9F-889D-A044-9A24-51CB6BB0725C}"/>
          </ac:spMkLst>
        </pc:spChg>
        <pc:spChg chg="mod">
          <ac:chgData name="Elgee, Jeffrey (SPAC/PSPC)" userId="e10f0e9c-c03f-4fde-9113-11216b420c44" providerId="ADAL" clId="{8A22DB22-CE08-4237-BAFA-661B83772496}" dt="2024-06-06T18:29:53.513" v="1314" actId="207"/>
          <ac:spMkLst>
            <pc:docMk/>
            <pc:sldMk cId="257696756" sldId="5009"/>
            <ac:spMk id="55" creationId="{C65A198B-1883-1A4B-A8B4-DD725DC9EB17}"/>
          </ac:spMkLst>
        </pc:spChg>
        <pc:spChg chg="mod">
          <ac:chgData name="Elgee, Jeffrey (SPAC/PSPC)" userId="e10f0e9c-c03f-4fde-9113-11216b420c44" providerId="ADAL" clId="{8A22DB22-CE08-4237-BAFA-661B83772496}" dt="2024-06-06T18:30:02.450" v="1316" actId="207"/>
          <ac:spMkLst>
            <pc:docMk/>
            <pc:sldMk cId="257696756" sldId="5009"/>
            <ac:spMk id="56" creationId="{432E7640-9E73-0D40-A6F4-AC27C1BD258B}"/>
          </ac:spMkLst>
        </pc:spChg>
        <pc:spChg chg="mod">
          <ac:chgData name="Elgee, Jeffrey (SPAC/PSPC)" userId="e10f0e9c-c03f-4fde-9113-11216b420c44" providerId="ADAL" clId="{8A22DB22-CE08-4237-BAFA-661B83772496}" dt="2024-06-06T18:29:26.261" v="1310" actId="207"/>
          <ac:spMkLst>
            <pc:docMk/>
            <pc:sldMk cId="257696756" sldId="5009"/>
            <ac:spMk id="57" creationId="{9A6652DC-5AC2-7644-AD89-4F3E30042289}"/>
          </ac:spMkLst>
        </pc:spChg>
        <pc:spChg chg="mod">
          <ac:chgData name="Elgee, Jeffrey (SPAC/PSPC)" userId="e10f0e9c-c03f-4fde-9113-11216b420c44" providerId="ADAL" clId="{8A22DB22-CE08-4237-BAFA-661B83772496}" dt="2024-06-06T18:29:41.751" v="1312" actId="207"/>
          <ac:spMkLst>
            <pc:docMk/>
            <pc:sldMk cId="257696756" sldId="5009"/>
            <ac:spMk id="59" creationId="{F1F230E2-1267-6E4F-8031-0EC3BDB25111}"/>
          </ac:spMkLst>
        </pc:spChg>
        <pc:cxnChg chg="mod">
          <ac:chgData name="Elgee, Jeffrey (SPAC/PSPC)" userId="e10f0e9c-c03f-4fde-9113-11216b420c44" providerId="ADAL" clId="{8A22DB22-CE08-4237-BAFA-661B83772496}" dt="2024-06-06T18:27:51.510" v="1299" actId="208"/>
          <ac:cxnSpMkLst>
            <pc:docMk/>
            <pc:sldMk cId="257696756" sldId="5009"/>
            <ac:cxnSpMk id="13" creationId="{017A6896-7915-1C45-D73B-9C4D43C019AD}"/>
          </ac:cxnSpMkLst>
        </pc:cxnChg>
        <pc:cxnChg chg="mod">
          <ac:chgData name="Elgee, Jeffrey (SPAC/PSPC)" userId="e10f0e9c-c03f-4fde-9113-11216b420c44" providerId="ADAL" clId="{8A22DB22-CE08-4237-BAFA-661B83772496}" dt="2024-06-06T18:30:15.183" v="1318" actId="208"/>
          <ac:cxnSpMkLst>
            <pc:docMk/>
            <pc:sldMk cId="257696756" sldId="5009"/>
            <ac:cxnSpMk id="45" creationId="{136D3FD2-6787-4A4F-91CE-8770E54F376B}"/>
          </ac:cxnSpMkLst>
        </pc:cxnChg>
        <pc:cxnChg chg="mod">
          <ac:chgData name="Elgee, Jeffrey (SPAC/PSPC)" userId="e10f0e9c-c03f-4fde-9113-11216b420c44" providerId="ADAL" clId="{8A22DB22-CE08-4237-BAFA-661B83772496}" dt="2024-06-06T18:30:10.071" v="1317" actId="208"/>
          <ac:cxnSpMkLst>
            <pc:docMk/>
            <pc:sldMk cId="257696756" sldId="5009"/>
            <ac:cxnSpMk id="48" creationId="{349CE16F-30BD-634E-AC0B-DF9FE158DBDD}"/>
          </ac:cxnSpMkLst>
        </pc:cxnChg>
      </pc:sldChg>
      <pc:sldChg chg="addSp delSp modSp new mod">
        <pc:chgData name="Elgee, Jeffrey (SPAC/PSPC)" userId="e10f0e9c-c03f-4fde-9113-11216b420c44" providerId="ADAL" clId="{8A22DB22-CE08-4237-BAFA-661B83772496}" dt="2024-06-06T20:02:16.839" v="1686"/>
        <pc:sldMkLst>
          <pc:docMk/>
          <pc:sldMk cId="3716027044" sldId="5010"/>
        </pc:sldMkLst>
        <pc:spChg chg="mod">
          <ac:chgData name="Elgee, Jeffrey (SPAC/PSPC)" userId="e10f0e9c-c03f-4fde-9113-11216b420c44" providerId="ADAL" clId="{8A22DB22-CE08-4237-BAFA-661B83772496}" dt="2024-06-06T19:54:43.348" v="1683" actId="20577"/>
          <ac:spMkLst>
            <pc:docMk/>
            <pc:sldMk cId="3716027044" sldId="5010"/>
            <ac:spMk id="2" creationId="{50F19095-D162-D358-FA59-49FDCDDCAA28}"/>
          </ac:spMkLst>
        </pc:spChg>
        <pc:spChg chg="add del mod">
          <ac:chgData name="Elgee, Jeffrey (SPAC/PSPC)" userId="e10f0e9c-c03f-4fde-9113-11216b420c44" providerId="ADAL" clId="{8A22DB22-CE08-4237-BAFA-661B83772496}" dt="2024-06-06T20:02:16.839" v="1686"/>
          <ac:spMkLst>
            <pc:docMk/>
            <pc:sldMk cId="3716027044" sldId="5010"/>
            <ac:spMk id="3" creationId="{7DCED739-C118-050C-81A4-9BE76E7B67B3}"/>
          </ac:spMkLst>
        </pc:spChg>
      </pc:sldChg>
      <pc:sldChg chg="addSp delSp modSp new mod addCm modNotesTx">
        <pc:chgData name="Elgee, Jeffrey (SPAC/PSPC)" userId="e10f0e9c-c03f-4fde-9113-11216b420c44" providerId="ADAL" clId="{8A22DB22-CE08-4237-BAFA-661B83772496}" dt="2024-06-12T13:46:55.352" v="3381"/>
        <pc:sldMkLst>
          <pc:docMk/>
          <pc:sldMk cId="1717449089" sldId="5011"/>
        </pc:sldMkLst>
        <pc:spChg chg="add del mod">
          <ac:chgData name="Elgee, Jeffrey (SPAC/PSPC)" userId="e10f0e9c-c03f-4fde-9113-11216b420c44" providerId="ADAL" clId="{8A22DB22-CE08-4237-BAFA-661B83772496}" dt="2024-06-07T18:41:03.253" v="1783" actId="931"/>
          <ac:spMkLst>
            <pc:docMk/>
            <pc:sldMk cId="1717449089" sldId="5011"/>
            <ac:spMk id="2" creationId="{D7B97794-CF93-0FBC-9885-9B06A92255A4}"/>
          </ac:spMkLst>
        </pc:spChg>
        <pc:spChg chg="mod">
          <ac:chgData name="Elgee, Jeffrey (SPAC/PSPC)" userId="e10f0e9c-c03f-4fde-9113-11216b420c44" providerId="ADAL" clId="{8A22DB22-CE08-4237-BAFA-661B83772496}" dt="2024-06-12T13:44:55.093" v="3233" actId="20577"/>
          <ac:spMkLst>
            <pc:docMk/>
            <pc:sldMk cId="1717449089" sldId="5011"/>
            <ac:spMk id="3" creationId="{DE69AC7C-2B0D-CF31-48EE-53792B4D724E}"/>
          </ac:spMkLst>
        </pc:spChg>
        <pc:spChg chg="add del">
          <ac:chgData name="Elgee, Jeffrey (SPAC/PSPC)" userId="e10f0e9c-c03f-4fde-9113-11216b420c44" providerId="ADAL" clId="{8A22DB22-CE08-4237-BAFA-661B83772496}" dt="2024-06-07T18:08:29.257" v="1722" actId="478"/>
          <ac:spMkLst>
            <pc:docMk/>
            <pc:sldMk cId="1717449089" sldId="5011"/>
            <ac:spMk id="4" creationId="{5B0B17CE-1D12-6D66-D9B2-49E7603A2C9B}"/>
          </ac:spMkLst>
        </pc:spChg>
        <pc:spChg chg="mod">
          <ac:chgData name="Elgee, Jeffrey (SPAC/PSPC)" userId="e10f0e9c-c03f-4fde-9113-11216b420c44" providerId="ADAL" clId="{8A22DB22-CE08-4237-BAFA-661B83772496}" dt="2024-06-07T18:08:02.978" v="1717" actId="20577"/>
          <ac:spMkLst>
            <pc:docMk/>
            <pc:sldMk cId="1717449089" sldId="5011"/>
            <ac:spMk id="5" creationId="{A25F31FD-D91B-2F1F-48B5-8229C5FFF47F}"/>
          </ac:spMkLst>
        </pc:spChg>
        <pc:picChg chg="add del mod">
          <ac:chgData name="Elgee, Jeffrey (SPAC/PSPC)" userId="e10f0e9c-c03f-4fde-9113-11216b420c44" providerId="ADAL" clId="{8A22DB22-CE08-4237-BAFA-661B83772496}" dt="2024-06-07T18:40:13.504" v="1782" actId="931"/>
          <ac:picMkLst>
            <pc:docMk/>
            <pc:sldMk cId="1717449089" sldId="5011"/>
            <ac:picMk id="7" creationId="{DDD00BD3-C64D-90A7-1C98-1DDFA38AC6AC}"/>
          </ac:picMkLst>
        </pc:picChg>
        <pc:picChg chg="add mod">
          <ac:chgData name="Elgee, Jeffrey (SPAC/PSPC)" userId="e10f0e9c-c03f-4fde-9113-11216b420c44" providerId="ADAL" clId="{8A22DB22-CE08-4237-BAFA-661B83772496}" dt="2024-06-07T18:41:03.253" v="1783" actId="931"/>
          <ac:picMkLst>
            <pc:docMk/>
            <pc:sldMk cId="1717449089" sldId="5011"/>
            <ac:picMk id="9" creationId="{454D520A-4398-C925-7442-7C2F3F09B382}"/>
          </ac:picMkLst>
        </pc:pic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6:55.352" v="3381"/>
              <pc2:cmMkLst xmlns:pc2="http://schemas.microsoft.com/office/powerpoint/2019/9/main/command">
                <pc:docMk/>
                <pc:sldMk cId="1717449089" sldId="5011"/>
                <pc2:cmMk id="{529C2DE1-6C2F-4B5E-84E8-81A027F93166}"/>
              </pc2:cmMkLst>
            </pc226:cmChg>
          </p:ext>
        </pc:extLst>
      </pc:sldChg>
      <pc:sldChg chg="addSp delSp modSp new mod">
        <pc:chgData name="Elgee, Jeffrey (SPAC/PSPC)" userId="e10f0e9c-c03f-4fde-9113-11216b420c44" providerId="ADAL" clId="{8A22DB22-CE08-4237-BAFA-661B83772496}" dt="2024-06-07T20:52:00.760" v="2117" actId="6549"/>
        <pc:sldMkLst>
          <pc:docMk/>
          <pc:sldMk cId="1053501532" sldId="5012"/>
        </pc:sldMkLst>
        <pc:spChg chg="add del mod">
          <ac:chgData name="Elgee, Jeffrey (SPAC/PSPC)" userId="e10f0e9c-c03f-4fde-9113-11216b420c44" providerId="ADAL" clId="{8A22DB22-CE08-4237-BAFA-661B83772496}" dt="2024-06-07T19:27:50.654" v="1959" actId="931"/>
          <ac:spMkLst>
            <pc:docMk/>
            <pc:sldMk cId="1053501532" sldId="5012"/>
            <ac:spMk id="2" creationId="{70A35678-FC8B-3EAB-E299-D440EE8EC432}"/>
          </ac:spMkLst>
        </pc:spChg>
        <pc:spChg chg="mod">
          <ac:chgData name="Elgee, Jeffrey (SPAC/PSPC)" userId="e10f0e9c-c03f-4fde-9113-11216b420c44" providerId="ADAL" clId="{8A22DB22-CE08-4237-BAFA-661B83772496}" dt="2024-06-07T20:52:00.760" v="2117" actId="6549"/>
          <ac:spMkLst>
            <pc:docMk/>
            <pc:sldMk cId="1053501532" sldId="5012"/>
            <ac:spMk id="3" creationId="{F1C3E258-F619-5F69-B737-122EB008B65B}"/>
          </ac:spMkLst>
        </pc:spChg>
        <pc:spChg chg="del">
          <ac:chgData name="Elgee, Jeffrey (SPAC/PSPC)" userId="e10f0e9c-c03f-4fde-9113-11216b420c44" providerId="ADAL" clId="{8A22DB22-CE08-4237-BAFA-661B83772496}" dt="2024-06-07T19:11:28.360" v="1792" actId="478"/>
          <ac:spMkLst>
            <pc:docMk/>
            <pc:sldMk cId="1053501532" sldId="5012"/>
            <ac:spMk id="4" creationId="{E8F373B4-10FF-B63E-DAC7-35F32874F71F}"/>
          </ac:spMkLst>
        </pc:spChg>
        <pc:spChg chg="mod">
          <ac:chgData name="Elgee, Jeffrey (SPAC/PSPC)" userId="e10f0e9c-c03f-4fde-9113-11216b420c44" providerId="ADAL" clId="{8A22DB22-CE08-4237-BAFA-661B83772496}" dt="2024-06-07T19:15:19.466" v="1905" actId="20577"/>
          <ac:spMkLst>
            <pc:docMk/>
            <pc:sldMk cId="1053501532" sldId="5012"/>
            <ac:spMk id="5" creationId="{EA7F99B2-4BB8-F561-E89D-85B8AF383FB1}"/>
          </ac:spMkLst>
        </pc:spChg>
        <pc:picChg chg="add del mod">
          <ac:chgData name="Elgee, Jeffrey (SPAC/PSPC)" userId="e10f0e9c-c03f-4fde-9113-11216b420c44" providerId="ADAL" clId="{8A22DB22-CE08-4237-BAFA-661B83772496}" dt="2024-06-07T19:20:26.131" v="1909" actId="931"/>
          <ac:picMkLst>
            <pc:docMk/>
            <pc:sldMk cId="1053501532" sldId="5012"/>
            <ac:picMk id="7" creationId="{44076123-8F96-1D70-4495-BB774EADEC7A}"/>
          </ac:picMkLst>
        </pc:picChg>
        <pc:picChg chg="add mod">
          <ac:chgData name="Elgee, Jeffrey (SPAC/PSPC)" userId="e10f0e9c-c03f-4fde-9113-11216b420c44" providerId="ADAL" clId="{8A22DB22-CE08-4237-BAFA-661B83772496}" dt="2024-06-07T19:27:50.654" v="1959" actId="931"/>
          <ac:picMkLst>
            <pc:docMk/>
            <pc:sldMk cId="1053501532" sldId="5012"/>
            <ac:picMk id="9" creationId="{5D0D6A5D-EBDD-1FE0-787B-35B1EF327EF8}"/>
          </ac:picMkLst>
        </pc:picChg>
      </pc:sldChg>
      <pc:sldChg chg="modSp del mod">
        <pc:chgData name="Elgee, Jeffrey (SPAC/PSPC)" userId="e10f0e9c-c03f-4fde-9113-11216b420c44" providerId="ADAL" clId="{8A22DB22-CE08-4237-BAFA-661B83772496}" dt="2024-06-10T20:20:56.833" v="2646" actId="2696"/>
        <pc:sldMkLst>
          <pc:docMk/>
          <pc:sldMk cId="1228329092" sldId="5013"/>
        </pc:sldMkLst>
        <pc:spChg chg="mod">
          <ac:chgData name="Elgee, Jeffrey (SPAC/PSPC)" userId="e10f0e9c-c03f-4fde-9113-11216b420c44" providerId="ADAL" clId="{8A22DB22-CE08-4237-BAFA-661B83772496}" dt="2024-06-10T20:20:33.396" v="2645" actId="20577"/>
          <ac:spMkLst>
            <pc:docMk/>
            <pc:sldMk cId="1228329092" sldId="5013"/>
            <ac:spMk id="2" creationId="{2BFF691A-0106-26B8-89C1-55A17307E3C2}"/>
          </ac:spMkLst>
        </pc:spChg>
      </pc:sldChg>
      <pc:sldMasterChg chg="delSldLayout">
        <pc:chgData name="Elgee, Jeffrey (SPAC/PSPC)" userId="e10f0e9c-c03f-4fde-9113-11216b420c44" providerId="ADAL" clId="{8A22DB22-CE08-4237-BAFA-661B83772496}" dt="2024-06-06T18:53:27.402" v="1409" actId="47"/>
        <pc:sldMasterMkLst>
          <pc:docMk/>
          <pc:sldMasterMk cId="792885655" sldId="2147483675"/>
        </pc:sldMasterMkLst>
        <pc:sldLayoutChg chg="del">
          <pc:chgData name="Elgee, Jeffrey (SPAC/PSPC)" userId="e10f0e9c-c03f-4fde-9113-11216b420c44" providerId="ADAL" clId="{8A22DB22-CE08-4237-BAFA-661B83772496}" dt="2024-06-06T18:53:27.402" v="1409" actId="47"/>
          <pc:sldLayoutMkLst>
            <pc:docMk/>
            <pc:sldMasterMk cId="792885655" sldId="2147483675"/>
            <pc:sldLayoutMk cId="2138323" sldId="2147483699"/>
          </pc:sldLayoutMkLst>
        </pc:sldLayoutChg>
      </pc:sldMasterChg>
    </pc:docChg>
  </pc:docChgLst>
  <pc:docChgLst>
    <pc:chgData name="Jacob, Karen (SPAC/PSPC) (elle-la / she-her)" userId="66e9cce0-e37b-4645-a907-f7690bd68dfb" providerId="ADAL" clId="{871AC57A-6E3B-4D85-BA02-8D6F5065EA89}"/>
    <pc:docChg chg="undo redo custSel addSld delSld modSld sldOrd">
      <pc:chgData name="Jacob, Karen (SPAC/PSPC) (elle-la / she-her)" userId="66e9cce0-e37b-4645-a907-f7690bd68dfb" providerId="ADAL" clId="{871AC57A-6E3B-4D85-BA02-8D6F5065EA89}" dt="2024-07-09T18:30:11.750" v="7189" actId="20577"/>
      <pc:docMkLst>
        <pc:docMk/>
      </pc:docMkLst>
      <pc:sldChg chg="mod modShow">
        <pc:chgData name="Jacob, Karen (SPAC/PSPC) (elle-la / she-her)" userId="66e9cce0-e37b-4645-a907-f7690bd68dfb" providerId="ADAL" clId="{871AC57A-6E3B-4D85-BA02-8D6F5065EA89}" dt="2024-06-21T14:25:28.177" v="2811" actId="729"/>
        <pc:sldMkLst>
          <pc:docMk/>
          <pc:sldMk cId="1875387166" sldId="261"/>
        </pc:sldMkLst>
      </pc:sldChg>
      <pc:sldChg chg="modSp mod">
        <pc:chgData name="Jacob, Karen (SPAC/PSPC) (elle-la / she-her)" userId="66e9cce0-e37b-4645-a907-f7690bd68dfb" providerId="ADAL" clId="{871AC57A-6E3B-4D85-BA02-8D6F5065EA89}" dt="2024-06-21T13:24:13.743" v="1274" actId="20577"/>
        <pc:sldMkLst>
          <pc:docMk/>
          <pc:sldMk cId="1739606208" sldId="384"/>
        </pc:sldMkLst>
        <pc:spChg chg="mod">
          <ac:chgData name="Jacob, Karen (SPAC/PSPC) (elle-la / she-her)" userId="66e9cce0-e37b-4645-a907-f7690bd68dfb" providerId="ADAL" clId="{871AC57A-6E3B-4D85-BA02-8D6F5065EA89}" dt="2024-06-21T13:23:59.291" v="1235" actId="20577"/>
          <ac:spMkLst>
            <pc:docMk/>
            <pc:sldMk cId="1739606208" sldId="384"/>
            <ac:spMk id="2" creationId="{00000000-0000-0000-0000-000000000000}"/>
          </ac:spMkLst>
        </pc:spChg>
        <pc:spChg chg="mod">
          <ac:chgData name="Jacob, Karen (SPAC/PSPC) (elle-la / she-her)" userId="66e9cce0-e37b-4645-a907-f7690bd68dfb" providerId="ADAL" clId="{871AC57A-6E3B-4D85-BA02-8D6F5065EA89}" dt="2024-06-21T13:24:13.743" v="1274" actId="20577"/>
          <ac:spMkLst>
            <pc:docMk/>
            <pc:sldMk cId="1739606208" sldId="384"/>
            <ac:spMk id="3" creationId="{00000000-0000-0000-0000-000000000000}"/>
          </ac:spMkLst>
        </pc:spChg>
      </pc:sldChg>
      <pc:sldChg chg="addSp delSp modSp add mod">
        <pc:chgData name="Jacob, Karen (SPAC/PSPC) (elle-la / she-her)" userId="66e9cce0-e37b-4645-a907-f7690bd68dfb" providerId="ADAL" clId="{871AC57A-6E3B-4D85-BA02-8D6F5065EA89}" dt="2024-06-21T15:27:24.701" v="4710" actId="1076"/>
        <pc:sldMkLst>
          <pc:docMk/>
          <pc:sldMk cId="986189170" sldId="393"/>
        </pc:sldMkLst>
        <pc:spChg chg="mod">
          <ac:chgData name="Jacob, Karen (SPAC/PSPC) (elle-la / she-her)" userId="66e9cce0-e37b-4645-a907-f7690bd68dfb" providerId="ADAL" clId="{871AC57A-6E3B-4D85-BA02-8D6F5065EA89}" dt="2024-06-21T14:49:55.711" v="3462" actId="20577"/>
          <ac:spMkLst>
            <pc:docMk/>
            <pc:sldMk cId="986189170" sldId="393"/>
            <ac:spMk id="2" creationId="{81BABC30-17CF-4A05-BBF2-C491854EEE86}"/>
          </ac:spMkLst>
        </pc:spChg>
        <pc:spChg chg="add del mod">
          <ac:chgData name="Jacob, Karen (SPAC/PSPC) (elle-la / she-her)" userId="66e9cce0-e37b-4645-a907-f7690bd68dfb" providerId="ADAL" clId="{871AC57A-6E3B-4D85-BA02-8D6F5065EA89}" dt="2024-06-21T15:27:18.300" v="4709" actId="478"/>
          <ac:spMkLst>
            <pc:docMk/>
            <pc:sldMk cId="986189170" sldId="393"/>
            <ac:spMk id="3" creationId="{57A73D9B-F49C-8A88-17FF-A48188B2CD31}"/>
          </ac:spMkLst>
        </pc:spChg>
        <pc:spChg chg="mod">
          <ac:chgData name="Jacob, Karen (SPAC/PSPC) (elle-la / she-her)" userId="66e9cce0-e37b-4645-a907-f7690bd68dfb" providerId="ADAL" clId="{871AC57A-6E3B-4D85-BA02-8D6F5065EA89}" dt="2024-06-21T14:21:00.852" v="2672" actId="20577"/>
          <ac:spMkLst>
            <pc:docMk/>
            <pc:sldMk cId="986189170" sldId="393"/>
            <ac:spMk id="42" creationId="{BCEE7515-3524-472F-8F58-BF6E58A6FF68}"/>
          </ac:spMkLst>
        </pc:spChg>
        <pc:spChg chg="mod">
          <ac:chgData name="Jacob, Karen (SPAC/PSPC) (elle-la / she-her)" userId="66e9cce0-e37b-4645-a907-f7690bd68dfb" providerId="ADAL" clId="{871AC57A-6E3B-4D85-BA02-8D6F5065EA89}" dt="2024-06-21T14:21:08.140" v="2675" actId="20577"/>
          <ac:spMkLst>
            <pc:docMk/>
            <pc:sldMk cId="986189170" sldId="393"/>
            <ac:spMk id="43" creationId="{A95862EF-6835-47F7-810D-D13EB59C9F3C}"/>
          </ac:spMkLst>
        </pc:spChg>
        <pc:spChg chg="mod">
          <ac:chgData name="Jacob, Karen (SPAC/PSPC) (elle-la / she-her)" userId="66e9cce0-e37b-4645-a907-f7690bd68dfb" providerId="ADAL" clId="{871AC57A-6E3B-4D85-BA02-8D6F5065EA89}" dt="2024-06-21T14:31:33.531" v="2852" actId="1076"/>
          <ac:spMkLst>
            <pc:docMk/>
            <pc:sldMk cId="986189170" sldId="393"/>
            <ac:spMk id="44" creationId="{279DBB7C-9EAA-452F-95CC-784DB91B3516}"/>
          </ac:spMkLst>
        </pc:spChg>
        <pc:spChg chg="mod">
          <ac:chgData name="Jacob, Karen (SPAC/PSPC) (elle-la / she-her)" userId="66e9cce0-e37b-4645-a907-f7690bd68dfb" providerId="ADAL" clId="{871AC57A-6E3B-4D85-BA02-8D6F5065EA89}" dt="2024-06-21T14:21:20.953" v="2681" actId="20577"/>
          <ac:spMkLst>
            <pc:docMk/>
            <pc:sldMk cId="986189170" sldId="393"/>
            <ac:spMk id="45" creationId="{B399EB39-A3D7-4EC0-9D48-E3D784BD2DD7}"/>
          </ac:spMkLst>
        </pc:spChg>
        <pc:spChg chg="mod">
          <ac:chgData name="Jacob, Karen (SPAC/PSPC) (elle-la / she-her)" userId="66e9cce0-e37b-4645-a907-f7690bd68dfb" providerId="ADAL" clId="{871AC57A-6E3B-4D85-BA02-8D6F5065EA89}" dt="2024-06-21T14:30:52.964" v="2849" actId="113"/>
          <ac:spMkLst>
            <pc:docMk/>
            <pc:sldMk cId="986189170" sldId="393"/>
            <ac:spMk id="46" creationId="{C1C564CC-726D-4AF9-9415-EA9A7827EF0B}"/>
          </ac:spMkLst>
        </pc:spChg>
        <pc:spChg chg="mod">
          <ac:chgData name="Jacob, Karen (SPAC/PSPC) (elle-la / she-her)" userId="66e9cce0-e37b-4645-a907-f7690bd68dfb" providerId="ADAL" clId="{871AC57A-6E3B-4D85-BA02-8D6F5065EA89}" dt="2024-06-21T14:31:30.537" v="2851" actId="1076"/>
          <ac:spMkLst>
            <pc:docMk/>
            <pc:sldMk cId="986189170" sldId="393"/>
            <ac:spMk id="47" creationId="{7610ADAC-96D2-4161-8E5B-D809086A6EA4}"/>
          </ac:spMkLst>
        </pc:spChg>
        <pc:spChg chg="mod">
          <ac:chgData name="Jacob, Karen (SPAC/PSPC) (elle-la / she-her)" userId="66e9cce0-e37b-4645-a907-f7690bd68dfb" providerId="ADAL" clId="{871AC57A-6E3B-4D85-BA02-8D6F5065EA89}" dt="2024-06-21T14:31:42.903" v="2867" actId="20577"/>
          <ac:spMkLst>
            <pc:docMk/>
            <pc:sldMk cId="986189170" sldId="393"/>
            <ac:spMk id="48" creationId="{36C29F3A-8516-44CE-8C66-B51F2F37DA86}"/>
          </ac:spMkLst>
        </pc:spChg>
        <pc:spChg chg="mod">
          <ac:chgData name="Jacob, Karen (SPAC/PSPC) (elle-la / she-her)" userId="66e9cce0-e37b-4645-a907-f7690bd68dfb" providerId="ADAL" clId="{871AC57A-6E3B-4D85-BA02-8D6F5065EA89}" dt="2024-06-21T14:25:05.486" v="2810" actId="20577"/>
          <ac:spMkLst>
            <pc:docMk/>
            <pc:sldMk cId="986189170" sldId="393"/>
            <ac:spMk id="49" creationId="{78CC5D01-D6DD-4F92-AA98-55AB1B20A00F}"/>
          </ac:spMkLst>
        </pc:spChg>
        <pc:spChg chg="mod">
          <ac:chgData name="Jacob, Karen (SPAC/PSPC) (elle-la / she-her)" userId="66e9cce0-e37b-4645-a907-f7690bd68dfb" providerId="ADAL" clId="{871AC57A-6E3B-4D85-BA02-8D6F5065EA89}" dt="2024-06-21T14:51:42.531" v="3593" actId="20577"/>
          <ac:spMkLst>
            <pc:docMk/>
            <pc:sldMk cId="986189170" sldId="393"/>
            <ac:spMk id="50" creationId="{DE50AACE-0335-48A5-BAF4-47E45007D9DC}"/>
          </ac:spMkLst>
        </pc:spChg>
        <pc:grpChg chg="mod">
          <ac:chgData name="Jacob, Karen (SPAC/PSPC) (elle-la / she-her)" userId="66e9cce0-e37b-4645-a907-f7690bd68dfb" providerId="ADAL" clId="{871AC57A-6E3B-4D85-BA02-8D6F5065EA89}" dt="2024-06-21T15:27:24.701" v="4710" actId="1076"/>
          <ac:grpSpMkLst>
            <pc:docMk/>
            <pc:sldMk cId="986189170" sldId="393"/>
            <ac:grpSpMk id="39" creationId="{C2191868-CCF5-4452-B018-92CA700DC7A2}"/>
          </ac:grpSpMkLst>
        </pc:grpChg>
      </pc:sldChg>
      <pc:sldChg chg="modSp mod delCm modCm">
        <pc:chgData name="Jacob, Karen (SPAC/PSPC) (elle-la / she-her)" userId="66e9cce0-e37b-4645-a907-f7690bd68dfb" providerId="ADAL" clId="{871AC57A-6E3B-4D85-BA02-8D6F5065EA89}" dt="2024-06-21T14:47:59.360" v="3357" actId="6549"/>
        <pc:sldMkLst>
          <pc:docMk/>
          <pc:sldMk cId="3291831031" sldId="4970"/>
        </pc:sldMkLst>
        <pc:spChg chg="mod">
          <ac:chgData name="Jacob, Karen (SPAC/PSPC) (elle-la / she-her)" userId="66e9cce0-e37b-4645-a907-f7690bd68dfb" providerId="ADAL" clId="{871AC57A-6E3B-4D85-BA02-8D6F5065EA89}" dt="2024-06-21T14:47:59.360" v="3357" actId="6549"/>
          <ac:spMkLst>
            <pc:docMk/>
            <pc:sldMk cId="3291831031" sldId="4970"/>
            <ac:spMk id="2" creationId="{C74025A8-BF11-4E8B-9432-F1A9787EEC2E}"/>
          </ac:spMkLst>
        </pc:spChg>
        <pc:spChg chg="mod">
          <ac:chgData name="Jacob, Karen (SPAC/PSPC) (elle-la / she-her)" userId="66e9cce0-e37b-4645-a907-f7690bd68dfb" providerId="ADAL" clId="{871AC57A-6E3B-4D85-BA02-8D6F5065EA89}" dt="2024-06-21T13:27:50.202" v="1385" actId="20577"/>
          <ac:spMkLst>
            <pc:docMk/>
            <pc:sldMk cId="3291831031" sldId="4970"/>
            <ac:spMk id="6" creationId="{1E046C2E-5794-1A98-BBEA-235FF863B218}"/>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871AC57A-6E3B-4D85-BA02-8D6F5065EA89}" dt="2024-06-21T13:26:57.408" v="1337"/>
              <pc2:cmMkLst xmlns:pc2="http://schemas.microsoft.com/office/powerpoint/2019/9/main/command">
                <pc:docMk/>
                <pc:sldMk cId="3291831031" sldId="4970"/>
                <pc2:cmMk id="{2025D868-EAE7-453C-BECC-1981833F9191}"/>
              </pc2:cmMkLst>
            </pc226:cmChg>
          </p:ext>
        </pc:extLst>
      </pc:sldChg>
      <pc:sldChg chg="addCm delCm modCm">
        <pc:chgData name="Jacob, Karen (SPAC/PSPC) (elle-la / she-her)" userId="66e9cce0-e37b-4645-a907-f7690bd68dfb" providerId="ADAL" clId="{871AC57A-6E3B-4D85-BA02-8D6F5065EA89}" dt="2024-06-04T20:14:37.069" v="76"/>
        <pc:sldMkLst>
          <pc:docMk/>
          <pc:sldMk cId="4155933925" sldId="4984"/>
        </pc:sldMkLst>
        <pc:extLst>
          <p:ext xmlns:p="http://schemas.openxmlformats.org/presentationml/2006/main" uri="{D6D511B9-2390-475A-947B-AFAB55BFBCF1}">
            <pc226:cmChg xmlns:pc226="http://schemas.microsoft.com/office/powerpoint/2022/06/main/command" chg="">
              <pc226:chgData name="Jacob, Karen (SPAC/PSPC) (elle-la / she-her)" userId="66e9cce0-e37b-4645-a907-f7690bd68dfb" providerId="ADAL" clId="{871AC57A-6E3B-4D85-BA02-8D6F5065EA89}" dt="2024-06-04T20:14:30.484" v="75"/>
              <pc2:cmMkLst xmlns:pc2="http://schemas.microsoft.com/office/powerpoint/2019/9/main/command">
                <pc:docMk/>
                <pc:sldMk cId="4155933925" sldId="4984"/>
                <pc2:cmMk id="{65D6F518-B3A5-41F4-BB91-094F93D09B64}"/>
              </pc2:cmMkLst>
              <pc226:cmRplyChg chg="add">
                <pc226:chgData name="Jacob, Karen (SPAC/PSPC) (elle-la / she-her)" userId="66e9cce0-e37b-4645-a907-f7690bd68dfb" providerId="ADAL" clId="{871AC57A-6E3B-4D85-BA02-8D6F5065EA89}" dt="2024-06-04T20:14:30.484" v="75"/>
                <pc2:cmRplyMkLst xmlns:pc2="http://schemas.microsoft.com/office/powerpoint/2019/9/main/command">
                  <pc:docMk/>
                  <pc:sldMk cId="4155933925" sldId="4984"/>
                  <pc2:cmMk id="{65D6F518-B3A5-41F4-BB91-094F93D09B64}"/>
                  <pc2:cmRplyMk id="{39D276F6-9CD1-4872-A380-67D257E5D3AD}"/>
                </pc2:cmRplyMkLst>
              </pc226:cmRplyChg>
            </pc226:cmChg>
            <pc226:cmChg xmlns:pc226="http://schemas.microsoft.com/office/powerpoint/2022/06/main/command" chg="add del">
              <pc226:chgData name="Jacob, Karen (SPAC/PSPC) (elle-la / she-her)" userId="66e9cce0-e37b-4645-a907-f7690bd68dfb" providerId="ADAL" clId="{871AC57A-6E3B-4D85-BA02-8D6F5065EA89}" dt="2024-06-04T20:14:37.069" v="76"/>
              <pc2:cmMkLst xmlns:pc2="http://schemas.microsoft.com/office/powerpoint/2019/9/main/command">
                <pc:docMk/>
                <pc:sldMk cId="4155933925" sldId="4984"/>
                <pc2:cmMk id="{4D93B2F6-7E8A-4BB7-B8E1-085D9D74230F}"/>
              </pc2:cmMkLst>
            </pc226:cmChg>
          </p:ext>
        </pc:extLst>
      </pc:sldChg>
      <pc:sldChg chg="modSp mod delCm">
        <pc:chgData name="Jacob, Karen (SPAC/PSPC) (elle-la / she-her)" userId="66e9cce0-e37b-4645-a907-f7690bd68dfb" providerId="ADAL" clId="{871AC57A-6E3B-4D85-BA02-8D6F5065EA89}" dt="2024-06-21T12:35:59.091" v="155" actId="20577"/>
        <pc:sldMkLst>
          <pc:docMk/>
          <pc:sldMk cId="625183133" sldId="4986"/>
        </pc:sldMkLst>
        <pc:spChg chg="mod">
          <ac:chgData name="Jacob, Karen (SPAC/PSPC) (elle-la / she-her)" userId="66e9cce0-e37b-4645-a907-f7690bd68dfb" providerId="ADAL" clId="{871AC57A-6E3B-4D85-BA02-8D6F5065EA89}" dt="2024-06-21T12:35:59.091" v="155" actId="20577"/>
          <ac:spMkLst>
            <pc:docMk/>
            <pc:sldMk cId="625183133" sldId="4986"/>
            <ac:spMk id="3" creationId="{CC8B02F3-0C27-03C9-5D56-EC07236B6660}"/>
          </ac:spMkLst>
        </pc:sp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04T19:59:33.021" v="30"/>
              <pc2:cmMkLst xmlns:pc2="http://schemas.microsoft.com/office/powerpoint/2019/9/main/command">
                <pc:docMk/>
                <pc:sldMk cId="625183133" sldId="4986"/>
                <pc2:cmMk id="{1B26C75B-876F-48AD-9E22-A2C57F3DA19A}"/>
              </pc2:cmMkLst>
            </pc226:cmChg>
          </p:ext>
        </pc:extLst>
      </pc:sldChg>
      <pc:sldChg chg="delCm modCm">
        <pc:chgData name="Jacob, Karen (SPAC/PSPC) (elle-la / she-her)" userId="66e9cce0-e37b-4645-a907-f7690bd68dfb" providerId="ADAL" clId="{871AC57A-6E3B-4D85-BA02-8D6F5065EA89}" dt="2024-06-04T20:15:59.597" v="79"/>
        <pc:sldMkLst>
          <pc:docMk/>
          <pc:sldMk cId="3586646843" sldId="4988"/>
        </pc:sldMkLst>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15:59.597" v="79"/>
              <pc2:cmMkLst xmlns:pc2="http://schemas.microsoft.com/office/powerpoint/2019/9/main/command">
                <pc:docMk/>
                <pc:sldMk cId="3586646843" sldId="4988"/>
                <pc2:cmMk id="{40E56E7B-BFF7-459D-A9B0-95CA3CD398EC}"/>
              </pc2:cmMkLst>
              <pc226:cmRplyChg chg="del">
                <pc226:chgData name="Jacob, Karen (SPAC/PSPC) (elle-la / she-her)" userId="66e9cce0-e37b-4645-a907-f7690bd68dfb" providerId="ADAL" clId="{871AC57A-6E3B-4D85-BA02-8D6F5065EA89}" dt="2024-06-04T20:15:59.597" v="79"/>
                <pc2:cmRplyMkLst xmlns:pc2="http://schemas.microsoft.com/office/powerpoint/2019/9/main/command">
                  <pc:docMk/>
                  <pc:sldMk cId="3586646843" sldId="4988"/>
                  <pc2:cmMk id="{40E56E7B-BFF7-459D-A9B0-95CA3CD398EC}"/>
                  <pc2:cmRplyMk id="{F6885D90-08EB-48FF-B680-46F700B39EDC}"/>
                </pc2:cmRplyMkLst>
              </pc226:cmRplyChg>
            </pc226:cmChg>
            <pc226:cmChg xmlns:pc226="http://schemas.microsoft.com/office/powerpoint/2022/06/main/command" chg="del">
              <pc226:chgData name="Jacob, Karen (SPAC/PSPC) (elle-la / she-her)" userId="66e9cce0-e37b-4645-a907-f7690bd68dfb" providerId="ADAL" clId="{871AC57A-6E3B-4D85-BA02-8D6F5065EA89}" dt="2024-06-04T20:15:09.593" v="77"/>
              <pc2:cmMkLst xmlns:pc2="http://schemas.microsoft.com/office/powerpoint/2019/9/main/command">
                <pc:docMk/>
                <pc:sldMk cId="3586646843" sldId="4988"/>
                <pc2:cmMk id="{9B1D0092-CC1B-421C-813E-D08E625F0EBC}"/>
              </pc2:cmMkLst>
            </pc226:cmChg>
          </p:ext>
        </pc:extLst>
      </pc:sldChg>
      <pc:sldChg chg="addCm modCm">
        <pc:chgData name="Jacob, Karen (SPAC/PSPC) (elle-la / she-her)" userId="66e9cce0-e37b-4645-a907-f7690bd68dfb" providerId="ADAL" clId="{871AC57A-6E3B-4D85-BA02-8D6F5065EA89}" dt="2024-06-04T20:12:58.344" v="74"/>
        <pc:sldMkLst>
          <pc:docMk/>
          <pc:sldMk cId="2433718045" sldId="4989"/>
        </pc:sldMkLst>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4T20:12:58.344" v="74"/>
              <pc2:cmMkLst xmlns:pc2="http://schemas.microsoft.com/office/powerpoint/2019/9/main/command">
                <pc:docMk/>
                <pc:sldMk cId="2433718045" sldId="4989"/>
                <pc2:cmMk id="{D0197CB9-1180-49B5-A3DF-B9537F0CCDB4}"/>
              </pc2:cmMkLst>
            </pc226:cmChg>
            <pc226:cmChg xmlns:pc226="http://schemas.microsoft.com/office/powerpoint/2022/06/main/command" chg="mod">
              <pc226:chgData name="Jacob, Karen (SPAC/PSPC) (elle-la / she-her)" userId="66e9cce0-e37b-4645-a907-f7690bd68dfb" providerId="ADAL" clId="{871AC57A-6E3B-4D85-BA02-8D6F5065EA89}" dt="2024-06-04T20:11:45.648" v="73"/>
              <pc2:cmMkLst xmlns:pc2="http://schemas.microsoft.com/office/powerpoint/2019/9/main/command">
                <pc:docMk/>
                <pc:sldMk cId="2433718045" sldId="4989"/>
                <pc2:cmMk id="{4CC7B8F1-3568-42F1-9669-AEAFF5D3D4BB}"/>
              </pc2:cmMkLst>
              <pc226:cmRplyChg chg="del">
                <pc226:chgData name="Jacob, Karen (SPAC/PSPC) (elle-la / she-her)" userId="66e9cce0-e37b-4645-a907-f7690bd68dfb" providerId="ADAL" clId="{871AC57A-6E3B-4D85-BA02-8D6F5065EA89}" dt="2024-06-04T20:11:45.648" v="73"/>
                <pc2:cmRplyMkLst xmlns:pc2="http://schemas.microsoft.com/office/powerpoint/2019/9/main/command">
                  <pc:docMk/>
                  <pc:sldMk cId="2433718045" sldId="4989"/>
                  <pc2:cmMk id="{4CC7B8F1-3568-42F1-9669-AEAFF5D3D4BB}"/>
                  <pc2:cmRplyMk id="{9C449CA2-36E8-4094-BA68-102A7D2D0525}"/>
                </pc2:cmRplyMkLst>
              </pc226:cmRplyChg>
            </pc226:cmChg>
          </p:ext>
        </pc:extLst>
      </pc:sldChg>
      <pc:sldChg chg="modSp mod ord modCm">
        <pc:chgData name="Jacob, Karen (SPAC/PSPC) (elle-la / she-her)" userId="66e9cce0-e37b-4645-a907-f7690bd68dfb" providerId="ADAL" clId="{871AC57A-6E3B-4D85-BA02-8D6F5065EA89}" dt="2024-06-21T15:18:48.693" v="4374"/>
        <pc:sldMkLst>
          <pc:docMk/>
          <pc:sldMk cId="3675530289" sldId="4990"/>
        </pc:sldMkLst>
        <pc:spChg chg="mod">
          <ac:chgData name="Jacob, Karen (SPAC/PSPC) (elle-la / she-her)" userId="66e9cce0-e37b-4645-a907-f7690bd68dfb" providerId="ADAL" clId="{871AC57A-6E3B-4D85-BA02-8D6F5065EA89}" dt="2024-06-21T14:26:02.275" v="2815" actId="14100"/>
          <ac:spMkLst>
            <pc:docMk/>
            <pc:sldMk cId="3675530289" sldId="4990"/>
            <ac:spMk id="3" creationId="{850EFA27-BB7E-A97B-CC4E-5CD87E1BCE56}"/>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22:45.226" v="86"/>
              <pc2:cmMkLst xmlns:pc2="http://schemas.microsoft.com/office/powerpoint/2019/9/main/command">
                <pc:docMk/>
                <pc:sldMk cId="3675530289" sldId="4990"/>
                <pc2:cmMk id="{A671E939-DC8C-4E10-9919-42392E18B6FD}"/>
              </pc2:cmMkLst>
              <pc226:cmRplyChg chg="add">
                <pc226:chgData name="Jacob, Karen (SPAC/PSPC) (elle-la / she-her)" userId="66e9cce0-e37b-4645-a907-f7690bd68dfb" providerId="ADAL" clId="{871AC57A-6E3B-4D85-BA02-8D6F5065EA89}" dt="2024-06-04T20:22:45.226" v="86"/>
                <pc2:cmRplyMkLst xmlns:pc2="http://schemas.microsoft.com/office/powerpoint/2019/9/main/command">
                  <pc:docMk/>
                  <pc:sldMk cId="3675530289" sldId="4990"/>
                  <pc2:cmMk id="{A671E939-DC8C-4E10-9919-42392E18B6FD}"/>
                  <pc2:cmRplyMk id="{9E3CE418-3C4E-4134-9024-0561D7888A57}"/>
                </pc2:cmRplyMkLst>
              </pc226:cmRplyChg>
            </pc226:cmChg>
          </p:ext>
        </pc:extLst>
      </pc:sldChg>
      <pc:sldChg chg="modSp mod modShow addCm delCm modCm modNotesTx">
        <pc:chgData name="Jacob, Karen (SPAC/PSPC) (elle-la / she-her)" userId="66e9cce0-e37b-4645-a907-f7690bd68dfb" providerId="ADAL" clId="{871AC57A-6E3B-4D85-BA02-8D6F5065EA89}" dt="2024-06-21T14:50:51.848" v="3581" actId="729"/>
        <pc:sldMkLst>
          <pc:docMk/>
          <pc:sldMk cId="3633628159" sldId="4991"/>
        </pc:sldMkLst>
        <pc:spChg chg="mod">
          <ac:chgData name="Jacob, Karen (SPAC/PSPC) (elle-la / she-her)" userId="66e9cce0-e37b-4645-a907-f7690bd68dfb" providerId="ADAL" clId="{871AC57A-6E3B-4D85-BA02-8D6F5065EA89}" dt="2024-06-03T19:58:20.052" v="8"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add del">
              <pc226:chgData name="Jacob, Karen (SPAC/PSPC) (elle-la / she-her)" userId="66e9cce0-e37b-4645-a907-f7690bd68dfb" providerId="ADAL" clId="{871AC57A-6E3B-4D85-BA02-8D6F5065EA89}" dt="2024-06-04T20:18:17.607" v="82"/>
              <pc2:cmMkLst xmlns:pc2="http://schemas.microsoft.com/office/powerpoint/2019/9/main/command">
                <pc:docMk/>
                <pc:sldMk cId="3633628159" sldId="4991"/>
                <pc2:cmMk id="{7CDBA360-FAA6-49D3-9257-E9A72765AABD}"/>
              </pc2:cmMkLst>
            </pc226:cmChg>
            <pc226:cmChg xmlns:pc226="http://schemas.microsoft.com/office/powerpoint/2022/06/main/command" chg="mod">
              <pc226:chgData name="Jacob, Karen (SPAC/PSPC) (elle-la / she-her)" userId="66e9cce0-e37b-4645-a907-f7690bd68dfb" providerId="ADAL" clId="{871AC57A-6E3B-4D85-BA02-8D6F5065EA89}" dt="2024-06-04T20:20:29.976" v="84"/>
              <pc2:cmMkLst xmlns:pc2="http://schemas.microsoft.com/office/powerpoint/2019/9/main/command">
                <pc:docMk/>
                <pc:sldMk cId="3633628159" sldId="4991"/>
                <pc2:cmMk id="{D2CE9BCC-9530-493F-BC3F-9D47F64F0084}"/>
              </pc2:cmMkLst>
            </pc226:cmChg>
            <pc226:cmChg xmlns:pc226="http://schemas.microsoft.com/office/powerpoint/2022/06/main/command" chg="del">
              <pc226:chgData name="Jacob, Karen (SPAC/PSPC) (elle-la / she-her)" userId="66e9cce0-e37b-4645-a907-f7690bd68dfb" providerId="ADAL" clId="{871AC57A-6E3B-4D85-BA02-8D6F5065EA89}" dt="2024-06-04T20:18:19.881" v="83"/>
              <pc2:cmMkLst xmlns:pc2="http://schemas.microsoft.com/office/powerpoint/2019/9/main/command">
                <pc:docMk/>
                <pc:sldMk cId="3633628159" sldId="4991"/>
                <pc2:cmMk id="{075498D0-E803-4B79-ACEB-CF432821BD07}"/>
              </pc2:cmMkLst>
            </pc226:cmChg>
          </p:ext>
        </pc:extLst>
      </pc:sldChg>
      <pc:sldChg chg="modSp mod addCm delCm">
        <pc:chgData name="Jacob, Karen (SPAC/PSPC) (elle-la / she-her)" userId="66e9cce0-e37b-4645-a907-f7690bd68dfb" providerId="ADAL" clId="{871AC57A-6E3B-4D85-BA02-8D6F5065EA89}" dt="2024-06-21T20:09:11.407" v="5547" actId="20577"/>
        <pc:sldMkLst>
          <pc:docMk/>
          <pc:sldMk cId="388099589" sldId="4992"/>
        </pc:sldMkLst>
        <pc:spChg chg="mod">
          <ac:chgData name="Jacob, Karen (SPAC/PSPC) (elle-la / she-her)" userId="66e9cce0-e37b-4645-a907-f7690bd68dfb" providerId="ADAL" clId="{871AC57A-6E3B-4D85-BA02-8D6F5065EA89}" dt="2024-06-21T20:09:11.407" v="5547" actId="20577"/>
          <ac:spMkLst>
            <pc:docMk/>
            <pc:sldMk cId="388099589" sldId="4992"/>
            <ac:spMk id="15" creationId="{2A224E51-C8E2-AF04-0A70-65F6548C9FA5}"/>
          </ac:spMkLst>
        </pc:spChg>
        <pc:spChg chg="mod">
          <ac:chgData name="Jacob, Karen (SPAC/PSPC) (elle-la / she-her)" userId="66e9cce0-e37b-4645-a907-f7690bd68dfb" providerId="ADAL" clId="{871AC57A-6E3B-4D85-BA02-8D6F5065EA89}" dt="2024-06-21T15:26:39.443" v="4690" actId="1076"/>
          <ac:spMkLst>
            <pc:docMk/>
            <pc:sldMk cId="388099589" sldId="4992"/>
            <ac:spMk id="16" creationId="{DDBAA832-5D5B-F155-4F32-06C89A6062D9}"/>
          </ac:spMkLst>
        </pc:spChg>
        <pc:spChg chg="mod">
          <ac:chgData name="Jacob, Karen (SPAC/PSPC) (elle-la / she-her)" userId="66e9cce0-e37b-4645-a907-f7690bd68dfb" providerId="ADAL" clId="{871AC57A-6E3B-4D85-BA02-8D6F5065EA89}" dt="2024-06-21T15:26:34.866" v="4688" actId="1076"/>
          <ac:spMkLst>
            <pc:docMk/>
            <pc:sldMk cId="388099589" sldId="4992"/>
            <ac:spMk id="17" creationId="{03D46260-31B6-3CBA-D6E4-2A34CD363B83}"/>
          </ac:spMkLst>
        </pc:spChg>
        <pc:spChg chg="mod">
          <ac:chgData name="Jacob, Karen (SPAC/PSPC) (elle-la / she-her)" userId="66e9cce0-e37b-4645-a907-f7690bd68dfb" providerId="ADAL" clId="{871AC57A-6E3B-4D85-BA02-8D6F5065EA89}" dt="2024-06-21T15:26:44.280" v="4692" actId="1076"/>
          <ac:spMkLst>
            <pc:docMk/>
            <pc:sldMk cId="388099589" sldId="4992"/>
            <ac:spMk id="18" creationId="{4EF912C3-D6D2-8ADB-9455-F0BB3EFD9484}"/>
          </ac:spMkLst>
        </pc:spChg>
        <pc:spChg chg="mod">
          <ac:chgData name="Jacob, Karen (SPAC/PSPC) (elle-la / she-her)" userId="66e9cce0-e37b-4645-a907-f7690bd68dfb" providerId="ADAL" clId="{871AC57A-6E3B-4D85-BA02-8D6F5065EA89}" dt="2024-06-21T14:29:24.732" v="2847" actId="1036"/>
          <ac:spMkLst>
            <pc:docMk/>
            <pc:sldMk cId="388099589" sldId="4992"/>
            <ac:spMk id="19" creationId="{5DABBC32-D0F2-5FB4-F32B-6ACB5C70FCBB}"/>
          </ac:spMkLst>
        </pc:spChg>
        <pc:picChg chg="mod">
          <ac:chgData name="Jacob, Karen (SPAC/PSPC) (elle-la / she-her)" userId="66e9cce0-e37b-4645-a907-f7690bd68dfb" providerId="ADAL" clId="{871AC57A-6E3B-4D85-BA02-8D6F5065EA89}" dt="2024-06-21T14:29:24.732" v="2847" actId="1036"/>
          <ac:picMkLst>
            <pc:docMk/>
            <pc:sldMk cId="388099589" sldId="4992"/>
            <ac:picMk id="9" creationId="{CFECC87B-723E-8826-6C4D-682E01302215}"/>
          </ac:picMkLst>
        </pc:picChg>
        <pc:picChg chg="mod">
          <ac:chgData name="Jacob, Karen (SPAC/PSPC) (elle-la / she-her)" userId="66e9cce0-e37b-4645-a907-f7690bd68dfb" providerId="ADAL" clId="{871AC57A-6E3B-4D85-BA02-8D6F5065EA89}" dt="2024-06-21T15:26:41.350" v="4691" actId="1076"/>
          <ac:picMkLst>
            <pc:docMk/>
            <pc:sldMk cId="388099589" sldId="4992"/>
            <ac:picMk id="10" creationId="{EE1B7117-FE8F-8104-AF1D-A9871CD54FDE}"/>
          </ac:picMkLst>
        </pc:picChg>
        <pc:picChg chg="mod">
          <ac:chgData name="Jacob, Karen (SPAC/PSPC) (elle-la / she-her)" userId="66e9cce0-e37b-4645-a907-f7690bd68dfb" providerId="ADAL" clId="{871AC57A-6E3B-4D85-BA02-8D6F5065EA89}" dt="2024-06-21T15:26:31.593" v="4687" actId="1076"/>
          <ac:picMkLst>
            <pc:docMk/>
            <pc:sldMk cId="388099589" sldId="4992"/>
            <ac:picMk id="11" creationId="{0A95C047-D6CC-A24A-9FFE-34EA9062B06B}"/>
          </ac:picMkLst>
        </pc:picChg>
        <pc:picChg chg="mod">
          <ac:chgData name="Jacob, Karen (SPAC/PSPC) (elle-la / she-her)" userId="66e9cce0-e37b-4645-a907-f7690bd68dfb" providerId="ADAL" clId="{871AC57A-6E3B-4D85-BA02-8D6F5065EA89}" dt="2024-06-21T15:26:36.539" v="4689" actId="1076"/>
          <ac:picMkLst>
            <pc:docMk/>
            <pc:sldMk cId="388099589" sldId="4992"/>
            <ac:picMk id="13" creationId="{1BFE9BF1-5E6A-A995-0D24-DB7A9C3633D8}"/>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4:28:43.139" v="2817"/>
              <pc2:cmMkLst xmlns:pc2="http://schemas.microsoft.com/office/powerpoint/2019/9/main/command">
                <pc:docMk/>
                <pc:sldMk cId="388099589" sldId="4992"/>
                <pc2:cmMk id="{58314914-A9CA-416C-8B5D-44370B25C734}"/>
              </pc2:cmMkLst>
            </pc226:cmChg>
            <pc226:cmChg xmlns:pc226="http://schemas.microsoft.com/office/powerpoint/2022/06/main/command" chg="add del">
              <pc226:chgData name="Jacob, Karen (SPAC/PSPC) (elle-la / she-her)" userId="66e9cce0-e37b-4645-a907-f7690bd68dfb" providerId="ADAL" clId="{871AC57A-6E3B-4D85-BA02-8D6F5065EA89}" dt="2024-06-21T14:28:40.698" v="2816"/>
              <pc2:cmMkLst xmlns:pc2="http://schemas.microsoft.com/office/powerpoint/2019/9/main/command">
                <pc:docMk/>
                <pc:sldMk cId="388099589" sldId="4992"/>
                <pc2:cmMk id="{6D9A32E1-5F54-41B1-AAD7-FA271C53AFFB}"/>
              </pc2:cmMkLst>
            </pc226:cmChg>
          </p:ext>
        </pc:extLst>
      </pc:sldChg>
      <pc:sldChg chg="modSp mod modCm">
        <pc:chgData name="Jacob, Karen (SPAC/PSPC) (elle-la / she-her)" userId="66e9cce0-e37b-4645-a907-f7690bd68dfb" providerId="ADAL" clId="{871AC57A-6E3B-4D85-BA02-8D6F5065EA89}" dt="2024-06-21T15:27:52.079" v="4714" actId="20577"/>
        <pc:sldMkLst>
          <pc:docMk/>
          <pc:sldMk cId="3248544414" sldId="4993"/>
        </pc:sldMkLst>
        <pc:spChg chg="mod">
          <ac:chgData name="Jacob, Karen (SPAC/PSPC) (elle-la / she-her)" userId="66e9cce0-e37b-4645-a907-f7690bd68dfb" providerId="ADAL" clId="{871AC57A-6E3B-4D85-BA02-8D6F5065EA89}" dt="2024-06-21T15:27:52.079" v="4714" actId="20577"/>
          <ac:spMkLst>
            <pc:docMk/>
            <pc:sldMk cId="3248544414" sldId="4993"/>
            <ac:spMk id="8" creationId="{96EFBFBE-8CD7-D471-D8B0-8D13BB75ECC5}"/>
          </ac:spMkLst>
        </pc:spChg>
        <pc:spChg chg="mod">
          <ac:chgData name="Jacob, Karen (SPAC/PSPC) (elle-la / she-her)" userId="66e9cce0-e37b-4645-a907-f7690bd68dfb" providerId="ADAL" clId="{871AC57A-6E3B-4D85-BA02-8D6F5065EA89}" dt="2024-06-21T15:27:44.996" v="4712" actId="20577"/>
          <ac:spMkLst>
            <pc:docMk/>
            <pc:sldMk cId="3248544414" sldId="4993"/>
            <ac:spMk id="11" creationId="{3F9CB8D4-6144-CAF9-0CC6-38351C152F7F}"/>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21T15:27:52.079" v="4714" actId="20577"/>
              <pc2:cmMkLst xmlns:pc2="http://schemas.microsoft.com/office/powerpoint/2019/9/main/command">
                <pc:docMk/>
                <pc:sldMk cId="3248544414" sldId="4993"/>
                <pc2:cmMk id="{5A464C9B-BE0B-42A6-A2F8-517F7FBC4DD8}"/>
              </pc2:cmMkLst>
            </pc226:cmChg>
          </p:ext>
        </pc:extLst>
      </pc:sldChg>
      <pc:sldChg chg="addSp delSp modSp mod addCm delCm modCm modNotesTx">
        <pc:chgData name="Jacob, Karen (SPAC/PSPC) (elle-la / she-her)" userId="66e9cce0-e37b-4645-a907-f7690bd68dfb" providerId="ADAL" clId="{871AC57A-6E3B-4D85-BA02-8D6F5065EA89}" dt="2024-07-09T17:24:13.324" v="7149" actId="20577"/>
        <pc:sldMkLst>
          <pc:docMk/>
          <pc:sldMk cId="581567723" sldId="4998"/>
        </pc:sldMkLst>
        <pc:spChg chg="mod">
          <ac:chgData name="Jacob, Karen (SPAC/PSPC) (elle-la / she-her)" userId="66e9cce0-e37b-4645-a907-f7690bd68dfb" providerId="ADAL" clId="{871AC57A-6E3B-4D85-BA02-8D6F5065EA89}" dt="2024-06-21T12:40:45.599" v="325" actId="20577"/>
          <ac:spMkLst>
            <pc:docMk/>
            <pc:sldMk cId="581567723" sldId="4998"/>
            <ac:spMk id="2" creationId="{9DE119AA-C27C-1F93-8533-D6E1F56A43A8}"/>
          </ac:spMkLst>
        </pc:spChg>
        <pc:spChg chg="add mod">
          <ac:chgData name="Jacob, Karen (SPAC/PSPC) (elle-la / she-her)" userId="66e9cce0-e37b-4645-a907-f7690bd68dfb" providerId="ADAL" clId="{871AC57A-6E3B-4D85-BA02-8D6F5065EA89}" dt="2024-07-09T17:24:13.324" v="7149" actId="20577"/>
          <ac:spMkLst>
            <pc:docMk/>
            <pc:sldMk cId="581567723" sldId="4998"/>
            <ac:spMk id="3" creationId="{B4C4C6A1-95F9-4595-D5F9-6FBFE059FF64}"/>
          </ac:spMkLst>
        </pc:spChg>
        <pc:spChg chg="mod">
          <ac:chgData name="Jacob, Karen (SPAC/PSPC) (elle-la / she-her)" userId="66e9cce0-e37b-4645-a907-f7690bd68dfb" providerId="ADAL" clId="{871AC57A-6E3B-4D85-BA02-8D6F5065EA89}" dt="2024-06-04T20:07:42.046" v="65" actId="1076"/>
          <ac:spMkLst>
            <pc:docMk/>
            <pc:sldMk cId="581567723" sldId="4998"/>
            <ac:spMk id="3" creationId="{DCB1C657-83E0-7559-CD35-A0F89A43A85C}"/>
          </ac:spMkLst>
        </pc:spChg>
        <pc:spChg chg="add mod">
          <ac:chgData name="Jacob, Karen (SPAC/PSPC) (elle-la / she-her)" userId="66e9cce0-e37b-4645-a907-f7690bd68dfb" providerId="ADAL" clId="{871AC57A-6E3B-4D85-BA02-8D6F5065EA89}" dt="2024-06-04T20:03:30.484" v="31"/>
          <ac:spMkLst>
            <pc:docMk/>
            <pc:sldMk cId="581567723" sldId="4998"/>
            <ac:spMk id="5" creationId="{D7D606A5-4CCA-4EE2-B0C8-0CA55D765A08}"/>
          </ac:spMkLst>
        </pc:spChg>
        <pc:spChg chg="add mod">
          <ac:chgData name="Jacob, Karen (SPAC/PSPC) (elle-la / she-her)" userId="66e9cce0-e37b-4645-a907-f7690bd68dfb" providerId="ADAL" clId="{871AC57A-6E3B-4D85-BA02-8D6F5065EA89}" dt="2024-06-04T20:03:30.484" v="31"/>
          <ac:spMkLst>
            <pc:docMk/>
            <pc:sldMk cId="581567723" sldId="4998"/>
            <ac:spMk id="6" creationId="{5E7528B7-A946-46F0-B669-8F935D7F6EBA}"/>
          </ac:spMkLst>
        </pc:spChg>
        <pc:spChg chg="add del mod">
          <ac:chgData name="Jacob, Karen (SPAC/PSPC) (elle-la / she-her)" userId="66e9cce0-e37b-4645-a907-f7690bd68dfb" providerId="ADAL" clId="{871AC57A-6E3B-4D85-BA02-8D6F5065EA89}" dt="2024-06-04T20:03:42.424" v="33" actId="478"/>
          <ac:spMkLst>
            <pc:docMk/>
            <pc:sldMk cId="581567723" sldId="4998"/>
            <ac:spMk id="9" creationId="{02102EB1-628A-A228-F405-4E0BAB36D0C8}"/>
          </ac:spMkLst>
        </pc:spChg>
        <pc:spChg chg="add del mod">
          <ac:chgData name="Jacob, Karen (SPAC/PSPC) (elle-la / she-her)" userId="66e9cce0-e37b-4645-a907-f7690bd68dfb" providerId="ADAL" clId="{871AC57A-6E3B-4D85-BA02-8D6F5065EA89}" dt="2024-06-04T20:04:03.767" v="36" actId="478"/>
          <ac:spMkLst>
            <pc:docMk/>
            <pc:sldMk cId="581567723" sldId="4998"/>
            <ac:spMk id="10" creationId="{B7478A55-5DE0-5172-A55E-4C69C69AA1B9}"/>
          </ac:spMkLst>
        </pc:spChg>
        <pc:spChg chg="add mod">
          <ac:chgData name="Jacob, Karen (SPAC/PSPC) (elle-la / she-her)" userId="66e9cce0-e37b-4645-a907-f7690bd68dfb" providerId="ADAL" clId="{871AC57A-6E3B-4D85-BA02-8D6F5065EA89}" dt="2024-06-04T20:03:30.484" v="31"/>
          <ac:spMkLst>
            <pc:docMk/>
            <pc:sldMk cId="581567723" sldId="4998"/>
            <ac:spMk id="11" creationId="{39421339-8C2E-3166-AC3E-6B380BD6625E}"/>
          </ac:spMkLst>
        </pc:spChg>
        <pc:spChg chg="add del mod">
          <ac:chgData name="Jacob, Karen (SPAC/PSPC) (elle-la / she-her)" userId="66e9cce0-e37b-4645-a907-f7690bd68dfb" providerId="ADAL" clId="{871AC57A-6E3B-4D85-BA02-8D6F5065EA89}" dt="2024-06-04T20:03:59.068" v="35" actId="478"/>
          <ac:spMkLst>
            <pc:docMk/>
            <pc:sldMk cId="581567723" sldId="4998"/>
            <ac:spMk id="14" creationId="{241461F9-1C3F-24F1-C320-FF5EC4D96EE1}"/>
          </ac:spMkLst>
        </pc:spChg>
        <pc:spChg chg="add mod">
          <ac:chgData name="Jacob, Karen (SPAC/PSPC) (elle-la / she-her)" userId="66e9cce0-e37b-4645-a907-f7690bd68dfb" providerId="ADAL" clId="{871AC57A-6E3B-4D85-BA02-8D6F5065EA89}" dt="2024-06-04T20:03:30.484" v="31"/>
          <ac:spMkLst>
            <pc:docMk/>
            <pc:sldMk cId="581567723" sldId="4998"/>
            <ac:spMk id="17" creationId="{0181F1B8-8D47-47DE-9BBC-4D892AD996D2}"/>
          </ac:spMkLst>
        </pc:spChg>
        <pc:spChg chg="add mod">
          <ac:chgData name="Jacob, Karen (SPAC/PSPC) (elle-la / she-her)" userId="66e9cce0-e37b-4645-a907-f7690bd68dfb" providerId="ADAL" clId="{871AC57A-6E3B-4D85-BA02-8D6F5065EA89}" dt="2024-06-04T20:03:30.484" v="31"/>
          <ac:spMkLst>
            <pc:docMk/>
            <pc:sldMk cId="581567723" sldId="4998"/>
            <ac:spMk id="19" creationId="{EA3E678B-FB11-4429-813D-6664187F761A}"/>
          </ac:spMkLst>
        </pc:spChg>
        <pc:spChg chg="add mod">
          <ac:chgData name="Jacob, Karen (SPAC/PSPC) (elle-la / she-her)" userId="66e9cce0-e37b-4645-a907-f7690bd68dfb" providerId="ADAL" clId="{871AC57A-6E3B-4D85-BA02-8D6F5065EA89}" dt="2024-06-04T20:03:30.484" v="31"/>
          <ac:spMkLst>
            <pc:docMk/>
            <pc:sldMk cId="581567723" sldId="4998"/>
            <ac:spMk id="20" creationId="{A127293B-B7EF-4C87-938B-96289DEBD946}"/>
          </ac:spMkLst>
        </pc:spChg>
        <pc:spChg chg="add mod">
          <ac:chgData name="Jacob, Karen (SPAC/PSPC) (elle-la / she-her)" userId="66e9cce0-e37b-4645-a907-f7690bd68dfb" providerId="ADAL" clId="{871AC57A-6E3B-4D85-BA02-8D6F5065EA89}" dt="2024-06-04T20:03:30.484" v="31"/>
          <ac:spMkLst>
            <pc:docMk/>
            <pc:sldMk cId="581567723" sldId="4998"/>
            <ac:spMk id="22" creationId="{65CCA3A3-3BED-4876-9368-693E6DE8E80C}"/>
          </ac:spMkLst>
        </pc:spChg>
        <pc:spChg chg="add mod">
          <ac:chgData name="Jacob, Karen (SPAC/PSPC) (elle-la / she-her)" userId="66e9cce0-e37b-4645-a907-f7690bd68dfb" providerId="ADAL" clId="{871AC57A-6E3B-4D85-BA02-8D6F5065EA89}" dt="2024-06-04T20:03:30.484" v="31"/>
          <ac:spMkLst>
            <pc:docMk/>
            <pc:sldMk cId="581567723" sldId="4998"/>
            <ac:spMk id="23" creationId="{D990B6BF-6B95-4759-A584-1E4378D05941}"/>
          </ac:spMkLst>
        </pc:spChg>
        <pc:spChg chg="add mod">
          <ac:chgData name="Jacob, Karen (SPAC/PSPC) (elle-la / she-her)" userId="66e9cce0-e37b-4645-a907-f7690bd68dfb" providerId="ADAL" clId="{871AC57A-6E3B-4D85-BA02-8D6F5065EA89}" dt="2024-06-04T20:03:30.484" v="31"/>
          <ac:spMkLst>
            <pc:docMk/>
            <pc:sldMk cId="581567723" sldId="4998"/>
            <ac:spMk id="24" creationId="{FF95E0F3-F25E-49EB-8648-DD6D21CD77A4}"/>
          </ac:spMkLst>
        </pc:spChg>
        <pc:spChg chg="add mod">
          <ac:chgData name="Jacob, Karen (SPAC/PSPC) (elle-la / she-her)" userId="66e9cce0-e37b-4645-a907-f7690bd68dfb" providerId="ADAL" clId="{871AC57A-6E3B-4D85-BA02-8D6F5065EA89}" dt="2024-06-04T20:03:30.484" v="31"/>
          <ac:spMkLst>
            <pc:docMk/>
            <pc:sldMk cId="581567723" sldId="4998"/>
            <ac:spMk id="25" creationId="{43E9D117-1C24-4004-BB41-96BB8B96428F}"/>
          </ac:spMkLst>
        </pc:spChg>
        <pc:spChg chg="add mod">
          <ac:chgData name="Jacob, Karen (SPAC/PSPC) (elle-la / she-her)" userId="66e9cce0-e37b-4645-a907-f7690bd68dfb" providerId="ADAL" clId="{871AC57A-6E3B-4D85-BA02-8D6F5065EA89}" dt="2024-06-04T20:03:30.484" v="31"/>
          <ac:spMkLst>
            <pc:docMk/>
            <pc:sldMk cId="581567723" sldId="4998"/>
            <ac:spMk id="26" creationId="{3E1F8FA6-C3C0-45B2-8220-60E2BF8F5325}"/>
          </ac:spMkLst>
        </pc:spChg>
        <pc:spChg chg="add mod">
          <ac:chgData name="Jacob, Karen (SPAC/PSPC) (elle-la / she-her)" userId="66e9cce0-e37b-4645-a907-f7690bd68dfb" providerId="ADAL" clId="{871AC57A-6E3B-4D85-BA02-8D6F5065EA89}" dt="2024-06-04T20:03:30.484" v="31"/>
          <ac:spMkLst>
            <pc:docMk/>
            <pc:sldMk cId="581567723" sldId="4998"/>
            <ac:spMk id="27" creationId="{C09524D9-2310-4A6D-9FFA-6148D5908553}"/>
          </ac:spMkLst>
        </pc:spChg>
        <pc:spChg chg="add mod">
          <ac:chgData name="Jacob, Karen (SPAC/PSPC) (elle-la / she-her)" userId="66e9cce0-e37b-4645-a907-f7690bd68dfb" providerId="ADAL" clId="{871AC57A-6E3B-4D85-BA02-8D6F5065EA89}" dt="2024-06-04T20:03:30.484" v="31"/>
          <ac:spMkLst>
            <pc:docMk/>
            <pc:sldMk cId="581567723" sldId="4998"/>
            <ac:spMk id="28" creationId="{D1ABF3EE-DDF1-4928-AEEA-0E9F883BA2D0}"/>
          </ac:spMkLst>
        </pc:spChg>
        <pc:spChg chg="add mod">
          <ac:chgData name="Jacob, Karen (SPAC/PSPC) (elle-la / she-her)" userId="66e9cce0-e37b-4645-a907-f7690bd68dfb" providerId="ADAL" clId="{871AC57A-6E3B-4D85-BA02-8D6F5065EA89}" dt="2024-06-04T20:03:30.484" v="31"/>
          <ac:spMkLst>
            <pc:docMk/>
            <pc:sldMk cId="581567723" sldId="4998"/>
            <ac:spMk id="29" creationId="{1A31775B-8F18-4E3A-93BE-A05FF347D231}"/>
          </ac:spMkLst>
        </pc:spChg>
        <pc:spChg chg="add mod">
          <ac:chgData name="Jacob, Karen (SPAC/PSPC) (elle-la / she-her)" userId="66e9cce0-e37b-4645-a907-f7690bd68dfb" providerId="ADAL" clId="{871AC57A-6E3B-4D85-BA02-8D6F5065EA89}" dt="2024-06-04T20:03:30.484" v="31"/>
          <ac:spMkLst>
            <pc:docMk/>
            <pc:sldMk cId="581567723" sldId="4998"/>
            <ac:spMk id="30" creationId="{75E9AAB8-EA66-4102-AF27-F77BCADBA375}"/>
          </ac:spMkLst>
        </pc:spChg>
        <pc:spChg chg="add mod">
          <ac:chgData name="Jacob, Karen (SPAC/PSPC) (elle-la / she-her)" userId="66e9cce0-e37b-4645-a907-f7690bd68dfb" providerId="ADAL" clId="{871AC57A-6E3B-4D85-BA02-8D6F5065EA89}" dt="2024-06-04T20:03:30.484" v="31"/>
          <ac:spMkLst>
            <pc:docMk/>
            <pc:sldMk cId="581567723" sldId="4998"/>
            <ac:spMk id="31" creationId="{41B99211-FD43-4964-A27C-6BBA5F5109CB}"/>
          </ac:spMkLst>
        </pc:spChg>
        <pc:spChg chg="add mod">
          <ac:chgData name="Jacob, Karen (SPAC/PSPC) (elle-la / she-her)" userId="66e9cce0-e37b-4645-a907-f7690bd68dfb" providerId="ADAL" clId="{871AC57A-6E3B-4D85-BA02-8D6F5065EA89}" dt="2024-06-04T20:03:30.484" v="31"/>
          <ac:spMkLst>
            <pc:docMk/>
            <pc:sldMk cId="581567723" sldId="4998"/>
            <ac:spMk id="32" creationId="{99309AC4-1DCF-44A4-A5CC-AABB0F647385}"/>
          </ac:spMkLst>
        </pc:spChg>
        <pc:spChg chg="add mod">
          <ac:chgData name="Jacob, Karen (SPAC/PSPC) (elle-la / she-her)" userId="66e9cce0-e37b-4645-a907-f7690bd68dfb" providerId="ADAL" clId="{871AC57A-6E3B-4D85-BA02-8D6F5065EA89}" dt="2024-06-04T20:03:30.484" v="31"/>
          <ac:spMkLst>
            <pc:docMk/>
            <pc:sldMk cId="581567723" sldId="4998"/>
            <ac:spMk id="33" creationId="{B8C0259E-6523-467A-ADC1-8C71B6BF418C}"/>
          </ac:spMkLst>
        </pc:spChg>
        <pc:spChg chg="add mod">
          <ac:chgData name="Jacob, Karen (SPAC/PSPC) (elle-la / she-her)" userId="66e9cce0-e37b-4645-a907-f7690bd68dfb" providerId="ADAL" clId="{871AC57A-6E3B-4D85-BA02-8D6F5065EA89}" dt="2024-06-04T20:03:30.484" v="31"/>
          <ac:spMkLst>
            <pc:docMk/>
            <pc:sldMk cId="581567723" sldId="4998"/>
            <ac:spMk id="34" creationId="{23E4D2D6-EA40-4D69-91E9-C8BD2077BAB1}"/>
          </ac:spMkLst>
        </pc:spChg>
        <pc:spChg chg="add mod">
          <ac:chgData name="Jacob, Karen (SPAC/PSPC) (elle-la / she-her)" userId="66e9cce0-e37b-4645-a907-f7690bd68dfb" providerId="ADAL" clId="{871AC57A-6E3B-4D85-BA02-8D6F5065EA89}" dt="2024-06-04T20:03:30.484" v="31"/>
          <ac:spMkLst>
            <pc:docMk/>
            <pc:sldMk cId="581567723" sldId="4998"/>
            <ac:spMk id="35" creationId="{A48CBE16-158E-4804-806F-06E593C33533}"/>
          </ac:spMkLst>
        </pc:spChg>
        <pc:spChg chg="add mod">
          <ac:chgData name="Jacob, Karen (SPAC/PSPC) (elle-la / she-her)" userId="66e9cce0-e37b-4645-a907-f7690bd68dfb" providerId="ADAL" clId="{871AC57A-6E3B-4D85-BA02-8D6F5065EA89}" dt="2024-06-04T20:03:30.484" v="31"/>
          <ac:spMkLst>
            <pc:docMk/>
            <pc:sldMk cId="581567723" sldId="4998"/>
            <ac:spMk id="36" creationId="{2E8F8949-C333-4D2F-9EA4-6C7C28383021}"/>
          </ac:spMkLst>
        </pc:spChg>
        <pc:spChg chg="add mod">
          <ac:chgData name="Jacob, Karen (SPAC/PSPC) (elle-la / she-her)" userId="66e9cce0-e37b-4645-a907-f7690bd68dfb" providerId="ADAL" clId="{871AC57A-6E3B-4D85-BA02-8D6F5065EA89}" dt="2024-06-04T20:03:30.484" v="31"/>
          <ac:spMkLst>
            <pc:docMk/>
            <pc:sldMk cId="581567723" sldId="4998"/>
            <ac:spMk id="37" creationId="{A8539B96-75E4-4E3D-A09A-1BC3EC435F3A}"/>
          </ac:spMkLst>
        </pc:spChg>
        <pc:spChg chg="add mod">
          <ac:chgData name="Jacob, Karen (SPAC/PSPC) (elle-la / she-her)" userId="66e9cce0-e37b-4645-a907-f7690bd68dfb" providerId="ADAL" clId="{871AC57A-6E3B-4D85-BA02-8D6F5065EA89}" dt="2024-06-04T20:03:30.484" v="31"/>
          <ac:spMkLst>
            <pc:docMk/>
            <pc:sldMk cId="581567723" sldId="4998"/>
            <ac:spMk id="38" creationId="{44CC609C-D6D7-4BEC-96C1-7C6A98B6DD9C}"/>
          </ac:spMkLst>
        </pc:spChg>
        <pc:spChg chg="add mod">
          <ac:chgData name="Jacob, Karen (SPAC/PSPC) (elle-la / she-her)" userId="66e9cce0-e37b-4645-a907-f7690bd68dfb" providerId="ADAL" clId="{871AC57A-6E3B-4D85-BA02-8D6F5065EA89}" dt="2024-06-04T20:03:30.484" v="31"/>
          <ac:spMkLst>
            <pc:docMk/>
            <pc:sldMk cId="581567723" sldId="4998"/>
            <ac:spMk id="39" creationId="{EAD81601-64DF-4625-9203-D95121D131A5}"/>
          </ac:spMkLst>
        </pc:spChg>
        <pc:spChg chg="add mod">
          <ac:chgData name="Jacob, Karen (SPAC/PSPC) (elle-la / she-her)" userId="66e9cce0-e37b-4645-a907-f7690bd68dfb" providerId="ADAL" clId="{871AC57A-6E3B-4D85-BA02-8D6F5065EA89}" dt="2024-06-04T20:03:30.484" v="31"/>
          <ac:spMkLst>
            <pc:docMk/>
            <pc:sldMk cId="581567723" sldId="4998"/>
            <ac:spMk id="40" creationId="{162B74FF-8D9E-4AA2-8499-2A6877C548D7}"/>
          </ac:spMkLst>
        </pc:spChg>
        <pc:spChg chg="add mod">
          <ac:chgData name="Jacob, Karen (SPAC/PSPC) (elle-la / she-her)" userId="66e9cce0-e37b-4645-a907-f7690bd68dfb" providerId="ADAL" clId="{871AC57A-6E3B-4D85-BA02-8D6F5065EA89}" dt="2024-06-04T20:03:30.484" v="31"/>
          <ac:spMkLst>
            <pc:docMk/>
            <pc:sldMk cId="581567723" sldId="4998"/>
            <ac:spMk id="41" creationId="{4D8D6572-3333-4489-909A-4944965A0F50}"/>
          </ac:spMkLst>
        </pc:spChg>
        <pc:spChg chg="add mod">
          <ac:chgData name="Jacob, Karen (SPAC/PSPC) (elle-la / she-her)" userId="66e9cce0-e37b-4645-a907-f7690bd68dfb" providerId="ADAL" clId="{871AC57A-6E3B-4D85-BA02-8D6F5065EA89}" dt="2024-06-04T20:03:30.484" v="31"/>
          <ac:spMkLst>
            <pc:docMk/>
            <pc:sldMk cId="581567723" sldId="4998"/>
            <ac:spMk id="42" creationId="{921D4106-686A-4FB6-804B-BE4034670D82}"/>
          </ac:spMkLst>
        </pc:spChg>
        <pc:spChg chg="add mod">
          <ac:chgData name="Jacob, Karen (SPAC/PSPC) (elle-la / she-her)" userId="66e9cce0-e37b-4645-a907-f7690bd68dfb" providerId="ADAL" clId="{871AC57A-6E3B-4D85-BA02-8D6F5065EA89}" dt="2024-06-04T20:03:30.484" v="31"/>
          <ac:spMkLst>
            <pc:docMk/>
            <pc:sldMk cId="581567723" sldId="4998"/>
            <ac:spMk id="43" creationId="{7606B248-DA4E-416F-86F7-25423084CC07}"/>
          </ac:spMkLst>
        </pc:spChg>
        <pc:spChg chg="add mod">
          <ac:chgData name="Jacob, Karen (SPAC/PSPC) (elle-la / she-her)" userId="66e9cce0-e37b-4645-a907-f7690bd68dfb" providerId="ADAL" clId="{871AC57A-6E3B-4D85-BA02-8D6F5065EA89}" dt="2024-06-04T20:03:30.484" v="31"/>
          <ac:spMkLst>
            <pc:docMk/>
            <pc:sldMk cId="581567723" sldId="4998"/>
            <ac:spMk id="44" creationId="{3B2BE8E2-BF4F-4F10-A745-063B5F0B58FF}"/>
          </ac:spMkLst>
        </pc:spChg>
        <pc:spChg chg="add mod">
          <ac:chgData name="Jacob, Karen (SPAC/PSPC) (elle-la / she-her)" userId="66e9cce0-e37b-4645-a907-f7690bd68dfb" providerId="ADAL" clId="{871AC57A-6E3B-4D85-BA02-8D6F5065EA89}" dt="2024-06-04T20:03:30.484" v="31"/>
          <ac:spMkLst>
            <pc:docMk/>
            <pc:sldMk cId="581567723" sldId="4998"/>
            <ac:spMk id="45" creationId="{C27EF6FC-A108-41B5-ADF0-5CBA42BBCFC0}"/>
          </ac:spMkLst>
        </pc:spChg>
        <pc:spChg chg="add mod">
          <ac:chgData name="Jacob, Karen (SPAC/PSPC) (elle-la / she-her)" userId="66e9cce0-e37b-4645-a907-f7690bd68dfb" providerId="ADAL" clId="{871AC57A-6E3B-4D85-BA02-8D6F5065EA89}" dt="2024-06-04T20:03:30.484" v="31"/>
          <ac:spMkLst>
            <pc:docMk/>
            <pc:sldMk cId="581567723" sldId="4998"/>
            <ac:spMk id="46" creationId="{89E4AC49-96D4-4509-969E-30807EE6796F}"/>
          </ac:spMkLst>
        </pc:spChg>
        <pc:spChg chg="add mod">
          <ac:chgData name="Jacob, Karen (SPAC/PSPC) (elle-la / she-her)" userId="66e9cce0-e37b-4645-a907-f7690bd68dfb" providerId="ADAL" clId="{871AC57A-6E3B-4D85-BA02-8D6F5065EA89}" dt="2024-06-04T20:03:30.484" v="31"/>
          <ac:spMkLst>
            <pc:docMk/>
            <pc:sldMk cId="581567723" sldId="4998"/>
            <ac:spMk id="47" creationId="{1185DB12-E95A-4255-8EE5-35584E3DA745}"/>
          </ac:spMkLst>
        </pc:spChg>
        <pc:spChg chg="add mod">
          <ac:chgData name="Jacob, Karen (SPAC/PSPC) (elle-la / she-her)" userId="66e9cce0-e37b-4645-a907-f7690bd68dfb" providerId="ADAL" clId="{871AC57A-6E3B-4D85-BA02-8D6F5065EA89}" dt="2024-06-04T20:03:30.484" v="31"/>
          <ac:spMkLst>
            <pc:docMk/>
            <pc:sldMk cId="581567723" sldId="4998"/>
            <ac:spMk id="48" creationId="{2ECFBB9C-AE77-451F-8F9F-25AF9A2A590A}"/>
          </ac:spMkLst>
        </pc:spChg>
        <pc:spChg chg="add mod">
          <ac:chgData name="Jacob, Karen (SPAC/PSPC) (elle-la / she-her)" userId="66e9cce0-e37b-4645-a907-f7690bd68dfb" providerId="ADAL" clId="{871AC57A-6E3B-4D85-BA02-8D6F5065EA89}" dt="2024-06-04T20:03:30.484" v="31"/>
          <ac:spMkLst>
            <pc:docMk/>
            <pc:sldMk cId="581567723" sldId="4998"/>
            <ac:spMk id="49" creationId="{F2B34AE5-3B17-4706-B49D-02C6E196CE55}"/>
          </ac:spMkLst>
        </pc:spChg>
        <pc:spChg chg="add mod">
          <ac:chgData name="Jacob, Karen (SPAC/PSPC) (elle-la / she-her)" userId="66e9cce0-e37b-4645-a907-f7690bd68dfb" providerId="ADAL" clId="{871AC57A-6E3B-4D85-BA02-8D6F5065EA89}" dt="2024-06-04T20:03:30.484" v="31"/>
          <ac:spMkLst>
            <pc:docMk/>
            <pc:sldMk cId="581567723" sldId="4998"/>
            <ac:spMk id="50" creationId="{4ED6E4AA-D2B8-441E-8CC1-223AACCB7FD6}"/>
          </ac:spMkLst>
        </pc:spChg>
        <pc:spChg chg="add mod">
          <ac:chgData name="Jacob, Karen (SPAC/PSPC) (elle-la / she-her)" userId="66e9cce0-e37b-4645-a907-f7690bd68dfb" providerId="ADAL" clId="{871AC57A-6E3B-4D85-BA02-8D6F5065EA89}" dt="2024-06-04T20:03:30.484" v="31"/>
          <ac:spMkLst>
            <pc:docMk/>
            <pc:sldMk cId="581567723" sldId="4998"/>
            <ac:spMk id="51" creationId="{9DA5077E-878F-48CD-ADDF-BAFF6FDE7934}"/>
          </ac:spMkLst>
        </pc:spChg>
        <pc:spChg chg="add mod">
          <ac:chgData name="Jacob, Karen (SPAC/PSPC) (elle-la / she-her)" userId="66e9cce0-e37b-4645-a907-f7690bd68dfb" providerId="ADAL" clId="{871AC57A-6E3B-4D85-BA02-8D6F5065EA89}" dt="2024-06-04T20:03:30.484" v="31"/>
          <ac:spMkLst>
            <pc:docMk/>
            <pc:sldMk cId="581567723" sldId="4998"/>
            <ac:spMk id="52" creationId="{6EE41B9D-7B98-4101-A24E-05191AB21983}"/>
          </ac:spMkLst>
        </pc:spChg>
        <pc:spChg chg="add mod">
          <ac:chgData name="Jacob, Karen (SPAC/PSPC) (elle-la / she-her)" userId="66e9cce0-e37b-4645-a907-f7690bd68dfb" providerId="ADAL" clId="{871AC57A-6E3B-4D85-BA02-8D6F5065EA89}" dt="2024-06-04T20:03:30.484" v="31"/>
          <ac:spMkLst>
            <pc:docMk/>
            <pc:sldMk cId="581567723" sldId="4998"/>
            <ac:spMk id="53" creationId="{A32E3089-F261-4F9B-8BDF-4824025FBEE3}"/>
          </ac:spMkLst>
        </pc:spChg>
        <pc:spChg chg="add mod">
          <ac:chgData name="Jacob, Karen (SPAC/PSPC) (elle-la / she-her)" userId="66e9cce0-e37b-4645-a907-f7690bd68dfb" providerId="ADAL" clId="{871AC57A-6E3B-4D85-BA02-8D6F5065EA89}" dt="2024-06-04T20:03:30.484" v="31"/>
          <ac:spMkLst>
            <pc:docMk/>
            <pc:sldMk cId="581567723" sldId="4998"/>
            <ac:spMk id="54" creationId="{93379D55-25BB-4E20-9C69-F3E91B579276}"/>
          </ac:spMkLst>
        </pc:spChg>
        <pc:spChg chg="add mod">
          <ac:chgData name="Jacob, Karen (SPAC/PSPC) (elle-la / she-her)" userId="66e9cce0-e37b-4645-a907-f7690bd68dfb" providerId="ADAL" clId="{871AC57A-6E3B-4D85-BA02-8D6F5065EA89}" dt="2024-06-04T20:03:30.484" v="31"/>
          <ac:spMkLst>
            <pc:docMk/>
            <pc:sldMk cId="581567723" sldId="4998"/>
            <ac:spMk id="55" creationId="{21AD4492-6F3E-4EFE-9119-9870FE981287}"/>
          </ac:spMkLst>
        </pc:spChg>
        <pc:spChg chg="add mod">
          <ac:chgData name="Jacob, Karen (SPAC/PSPC) (elle-la / she-her)" userId="66e9cce0-e37b-4645-a907-f7690bd68dfb" providerId="ADAL" clId="{871AC57A-6E3B-4D85-BA02-8D6F5065EA89}" dt="2024-06-04T20:03:30.484" v="31"/>
          <ac:spMkLst>
            <pc:docMk/>
            <pc:sldMk cId="581567723" sldId="4998"/>
            <ac:spMk id="56" creationId="{6F100376-2624-4828-BC1F-CBA454FF8022}"/>
          </ac:spMkLst>
        </pc:spChg>
        <pc:spChg chg="add mod">
          <ac:chgData name="Jacob, Karen (SPAC/PSPC) (elle-la / she-her)" userId="66e9cce0-e37b-4645-a907-f7690bd68dfb" providerId="ADAL" clId="{871AC57A-6E3B-4D85-BA02-8D6F5065EA89}" dt="2024-06-04T20:03:30.484" v="31"/>
          <ac:spMkLst>
            <pc:docMk/>
            <pc:sldMk cId="581567723" sldId="4998"/>
            <ac:spMk id="57" creationId="{80A262A4-7EF9-499E-9EDD-D9838469D4D3}"/>
          </ac:spMkLst>
        </pc:spChg>
        <pc:spChg chg="add mod">
          <ac:chgData name="Jacob, Karen (SPAC/PSPC) (elle-la / she-her)" userId="66e9cce0-e37b-4645-a907-f7690bd68dfb" providerId="ADAL" clId="{871AC57A-6E3B-4D85-BA02-8D6F5065EA89}" dt="2024-06-04T20:03:30.484" v="31"/>
          <ac:spMkLst>
            <pc:docMk/>
            <pc:sldMk cId="581567723" sldId="4998"/>
            <ac:spMk id="58" creationId="{A44BB57E-3002-47D8-BD55-BF5AC0D05A39}"/>
          </ac:spMkLst>
        </pc:spChg>
        <pc:spChg chg="add mod">
          <ac:chgData name="Jacob, Karen (SPAC/PSPC) (elle-la / she-her)" userId="66e9cce0-e37b-4645-a907-f7690bd68dfb" providerId="ADAL" clId="{871AC57A-6E3B-4D85-BA02-8D6F5065EA89}" dt="2024-06-04T20:03:30.484" v="31"/>
          <ac:spMkLst>
            <pc:docMk/>
            <pc:sldMk cId="581567723" sldId="4998"/>
            <ac:spMk id="59" creationId="{78D74931-8E46-486A-8DF0-AA86B9A0C6CD}"/>
          </ac:spMkLst>
        </pc:spChg>
        <pc:spChg chg="add mod">
          <ac:chgData name="Jacob, Karen (SPAC/PSPC) (elle-la / she-her)" userId="66e9cce0-e37b-4645-a907-f7690bd68dfb" providerId="ADAL" clId="{871AC57A-6E3B-4D85-BA02-8D6F5065EA89}" dt="2024-06-04T20:03:30.484" v="31"/>
          <ac:spMkLst>
            <pc:docMk/>
            <pc:sldMk cId="581567723" sldId="4998"/>
            <ac:spMk id="60" creationId="{CBE232AF-E8F5-43EE-9D6F-2106B6F2DCBC}"/>
          </ac:spMkLst>
        </pc:spChg>
        <pc:spChg chg="add mod">
          <ac:chgData name="Jacob, Karen (SPAC/PSPC) (elle-la / she-her)" userId="66e9cce0-e37b-4645-a907-f7690bd68dfb" providerId="ADAL" clId="{871AC57A-6E3B-4D85-BA02-8D6F5065EA89}" dt="2024-06-04T20:03:30.484" v="31"/>
          <ac:spMkLst>
            <pc:docMk/>
            <pc:sldMk cId="581567723" sldId="4998"/>
            <ac:spMk id="61" creationId="{59F04C32-5770-46E5-956B-F7A1BDBFA0BF}"/>
          </ac:spMkLst>
        </pc:spChg>
        <pc:spChg chg="add mod">
          <ac:chgData name="Jacob, Karen (SPAC/PSPC) (elle-la / she-her)" userId="66e9cce0-e37b-4645-a907-f7690bd68dfb" providerId="ADAL" clId="{871AC57A-6E3B-4D85-BA02-8D6F5065EA89}" dt="2024-06-04T20:03:30.484" v="31"/>
          <ac:spMkLst>
            <pc:docMk/>
            <pc:sldMk cId="581567723" sldId="4998"/>
            <ac:spMk id="62" creationId="{062E8B16-D8E6-4031-BDB2-A45F2A273A87}"/>
          </ac:spMkLst>
        </pc:spChg>
        <pc:spChg chg="add mod">
          <ac:chgData name="Jacob, Karen (SPAC/PSPC) (elle-la / she-her)" userId="66e9cce0-e37b-4645-a907-f7690bd68dfb" providerId="ADAL" clId="{871AC57A-6E3B-4D85-BA02-8D6F5065EA89}" dt="2024-06-04T20:03:30.484" v="31"/>
          <ac:spMkLst>
            <pc:docMk/>
            <pc:sldMk cId="581567723" sldId="4998"/>
            <ac:spMk id="63" creationId="{EBEA076D-66E7-4312-9FD4-88570722AE89}"/>
          </ac:spMkLst>
        </pc:spChg>
        <pc:spChg chg="add mod">
          <ac:chgData name="Jacob, Karen (SPAC/PSPC) (elle-la / she-her)" userId="66e9cce0-e37b-4645-a907-f7690bd68dfb" providerId="ADAL" clId="{871AC57A-6E3B-4D85-BA02-8D6F5065EA89}" dt="2024-06-04T20:03:30.484" v="31"/>
          <ac:spMkLst>
            <pc:docMk/>
            <pc:sldMk cId="581567723" sldId="4998"/>
            <ac:spMk id="64" creationId="{46C82F6E-91C2-46A9-8173-AF878332D02F}"/>
          </ac:spMkLst>
        </pc:spChg>
        <pc:spChg chg="add mod">
          <ac:chgData name="Jacob, Karen (SPAC/PSPC) (elle-la / she-her)" userId="66e9cce0-e37b-4645-a907-f7690bd68dfb" providerId="ADAL" clId="{871AC57A-6E3B-4D85-BA02-8D6F5065EA89}" dt="2024-06-04T20:03:30.484" v="31"/>
          <ac:spMkLst>
            <pc:docMk/>
            <pc:sldMk cId="581567723" sldId="4998"/>
            <ac:spMk id="67" creationId="{2D3CFA98-F16B-4B1A-9E8F-5FF76EA83AA2}"/>
          </ac:spMkLst>
        </pc:spChg>
        <pc:spChg chg="add mod">
          <ac:chgData name="Jacob, Karen (SPAC/PSPC) (elle-la / she-her)" userId="66e9cce0-e37b-4645-a907-f7690bd68dfb" providerId="ADAL" clId="{871AC57A-6E3B-4D85-BA02-8D6F5065EA89}" dt="2024-06-04T20:03:30.484" v="31"/>
          <ac:spMkLst>
            <pc:docMk/>
            <pc:sldMk cId="581567723" sldId="4998"/>
            <ac:spMk id="69" creationId="{B95952AE-A94E-4A80-ABE5-FC368A7D0E4C}"/>
          </ac:spMkLst>
        </pc:spChg>
        <pc:spChg chg="add mod">
          <ac:chgData name="Jacob, Karen (SPAC/PSPC) (elle-la / she-her)" userId="66e9cce0-e37b-4645-a907-f7690bd68dfb" providerId="ADAL" clId="{871AC57A-6E3B-4D85-BA02-8D6F5065EA89}" dt="2024-06-04T20:03:30.484" v="31"/>
          <ac:spMkLst>
            <pc:docMk/>
            <pc:sldMk cId="581567723" sldId="4998"/>
            <ac:spMk id="70" creationId="{9A471853-C0D8-4803-8315-A237E4335AD6}"/>
          </ac:spMkLst>
        </pc:spChg>
        <pc:spChg chg="add mod">
          <ac:chgData name="Jacob, Karen (SPAC/PSPC) (elle-la / she-her)" userId="66e9cce0-e37b-4645-a907-f7690bd68dfb" providerId="ADAL" clId="{871AC57A-6E3B-4D85-BA02-8D6F5065EA89}" dt="2024-06-04T20:03:30.484" v="31"/>
          <ac:spMkLst>
            <pc:docMk/>
            <pc:sldMk cId="581567723" sldId="4998"/>
            <ac:spMk id="72" creationId="{787836AF-CB7F-4DCA-9A4C-14B80DE615B6}"/>
          </ac:spMkLst>
        </pc:spChg>
        <pc:spChg chg="add mod">
          <ac:chgData name="Jacob, Karen (SPAC/PSPC) (elle-la / she-her)" userId="66e9cce0-e37b-4645-a907-f7690bd68dfb" providerId="ADAL" clId="{871AC57A-6E3B-4D85-BA02-8D6F5065EA89}" dt="2024-06-04T20:03:30.484" v="31"/>
          <ac:spMkLst>
            <pc:docMk/>
            <pc:sldMk cId="581567723" sldId="4998"/>
            <ac:spMk id="73" creationId="{747AC0A7-029F-4F71-8E6D-B5151ABC2B6C}"/>
          </ac:spMkLst>
        </pc:spChg>
        <pc:spChg chg="add mod">
          <ac:chgData name="Jacob, Karen (SPAC/PSPC) (elle-la / she-her)" userId="66e9cce0-e37b-4645-a907-f7690bd68dfb" providerId="ADAL" clId="{871AC57A-6E3B-4D85-BA02-8D6F5065EA89}" dt="2024-06-04T20:03:30.484" v="31"/>
          <ac:spMkLst>
            <pc:docMk/>
            <pc:sldMk cId="581567723" sldId="4998"/>
            <ac:spMk id="74" creationId="{ABB43429-0988-4CC3-B38B-4DCD0150BD45}"/>
          </ac:spMkLst>
        </pc:spChg>
        <pc:spChg chg="add mod">
          <ac:chgData name="Jacob, Karen (SPAC/PSPC) (elle-la / she-her)" userId="66e9cce0-e37b-4645-a907-f7690bd68dfb" providerId="ADAL" clId="{871AC57A-6E3B-4D85-BA02-8D6F5065EA89}" dt="2024-06-04T20:03:30.484" v="31"/>
          <ac:spMkLst>
            <pc:docMk/>
            <pc:sldMk cId="581567723" sldId="4998"/>
            <ac:spMk id="75" creationId="{B81C9F5F-C858-43F5-BF82-1E8F90C6C018}"/>
          </ac:spMkLst>
        </pc:spChg>
        <pc:spChg chg="add mod">
          <ac:chgData name="Jacob, Karen (SPAC/PSPC) (elle-la / she-her)" userId="66e9cce0-e37b-4645-a907-f7690bd68dfb" providerId="ADAL" clId="{871AC57A-6E3B-4D85-BA02-8D6F5065EA89}" dt="2024-06-04T20:03:30.484" v="31"/>
          <ac:spMkLst>
            <pc:docMk/>
            <pc:sldMk cId="581567723" sldId="4998"/>
            <ac:spMk id="76" creationId="{4226700E-4345-4ED4-8920-2F21B52090C7}"/>
          </ac:spMkLst>
        </pc:spChg>
        <pc:spChg chg="add mod">
          <ac:chgData name="Jacob, Karen (SPAC/PSPC) (elle-la / she-her)" userId="66e9cce0-e37b-4645-a907-f7690bd68dfb" providerId="ADAL" clId="{871AC57A-6E3B-4D85-BA02-8D6F5065EA89}" dt="2024-06-04T20:03:30.484" v="31"/>
          <ac:spMkLst>
            <pc:docMk/>
            <pc:sldMk cId="581567723" sldId="4998"/>
            <ac:spMk id="77" creationId="{66E6A198-9270-4B79-87C4-2A07C3A33F1A}"/>
          </ac:spMkLst>
        </pc:spChg>
        <pc:spChg chg="add mod">
          <ac:chgData name="Jacob, Karen (SPAC/PSPC) (elle-la / she-her)" userId="66e9cce0-e37b-4645-a907-f7690bd68dfb" providerId="ADAL" clId="{871AC57A-6E3B-4D85-BA02-8D6F5065EA89}" dt="2024-06-04T20:03:30.484" v="31"/>
          <ac:spMkLst>
            <pc:docMk/>
            <pc:sldMk cId="581567723" sldId="4998"/>
            <ac:spMk id="78" creationId="{7A19E42C-7367-4909-B2D2-819BFA8A1CF0}"/>
          </ac:spMkLst>
        </pc:spChg>
        <pc:spChg chg="add mod">
          <ac:chgData name="Jacob, Karen (SPAC/PSPC) (elle-la / she-her)" userId="66e9cce0-e37b-4645-a907-f7690bd68dfb" providerId="ADAL" clId="{871AC57A-6E3B-4D85-BA02-8D6F5065EA89}" dt="2024-06-04T20:03:30.484" v="31"/>
          <ac:spMkLst>
            <pc:docMk/>
            <pc:sldMk cId="581567723" sldId="4998"/>
            <ac:spMk id="79" creationId="{E406B097-E498-4008-A550-D5BD821E3B7C}"/>
          </ac:spMkLst>
        </pc:spChg>
        <pc:spChg chg="add mod">
          <ac:chgData name="Jacob, Karen (SPAC/PSPC) (elle-la / she-her)" userId="66e9cce0-e37b-4645-a907-f7690bd68dfb" providerId="ADAL" clId="{871AC57A-6E3B-4D85-BA02-8D6F5065EA89}" dt="2024-06-04T20:03:30.484" v="31"/>
          <ac:spMkLst>
            <pc:docMk/>
            <pc:sldMk cId="581567723" sldId="4998"/>
            <ac:spMk id="80" creationId="{BF89B148-7DCE-4E81-8398-CFA5788A87F9}"/>
          </ac:spMkLst>
        </pc:spChg>
        <pc:spChg chg="add mod">
          <ac:chgData name="Jacob, Karen (SPAC/PSPC) (elle-la / she-her)" userId="66e9cce0-e37b-4645-a907-f7690bd68dfb" providerId="ADAL" clId="{871AC57A-6E3B-4D85-BA02-8D6F5065EA89}" dt="2024-06-04T20:03:30.484" v="31"/>
          <ac:spMkLst>
            <pc:docMk/>
            <pc:sldMk cId="581567723" sldId="4998"/>
            <ac:spMk id="81" creationId="{1D949E83-0FCC-43CF-BB15-E807E2B777B5}"/>
          </ac:spMkLst>
        </pc:spChg>
        <pc:spChg chg="add mod">
          <ac:chgData name="Jacob, Karen (SPAC/PSPC) (elle-la / she-her)" userId="66e9cce0-e37b-4645-a907-f7690bd68dfb" providerId="ADAL" clId="{871AC57A-6E3B-4D85-BA02-8D6F5065EA89}" dt="2024-06-04T20:03:30.484" v="31"/>
          <ac:spMkLst>
            <pc:docMk/>
            <pc:sldMk cId="581567723" sldId="4998"/>
            <ac:spMk id="82" creationId="{52EE5E96-C135-4CA3-BC1F-6071300D209B}"/>
          </ac:spMkLst>
        </pc:spChg>
        <pc:spChg chg="add mod">
          <ac:chgData name="Jacob, Karen (SPAC/PSPC) (elle-la / she-her)" userId="66e9cce0-e37b-4645-a907-f7690bd68dfb" providerId="ADAL" clId="{871AC57A-6E3B-4D85-BA02-8D6F5065EA89}" dt="2024-06-04T20:03:30.484" v="31"/>
          <ac:spMkLst>
            <pc:docMk/>
            <pc:sldMk cId="581567723" sldId="4998"/>
            <ac:spMk id="83" creationId="{205DBE0E-F471-4F86-9177-8B217D85906C}"/>
          </ac:spMkLst>
        </pc:spChg>
        <pc:spChg chg="add mod">
          <ac:chgData name="Jacob, Karen (SPAC/PSPC) (elle-la / she-her)" userId="66e9cce0-e37b-4645-a907-f7690bd68dfb" providerId="ADAL" clId="{871AC57A-6E3B-4D85-BA02-8D6F5065EA89}" dt="2024-06-04T20:03:30.484" v="31"/>
          <ac:spMkLst>
            <pc:docMk/>
            <pc:sldMk cId="581567723" sldId="4998"/>
            <ac:spMk id="84" creationId="{291B7CCB-9A66-4F40-AF70-918C867DA230}"/>
          </ac:spMkLst>
        </pc:spChg>
        <pc:spChg chg="add mod">
          <ac:chgData name="Jacob, Karen (SPAC/PSPC) (elle-la / she-her)" userId="66e9cce0-e37b-4645-a907-f7690bd68dfb" providerId="ADAL" clId="{871AC57A-6E3B-4D85-BA02-8D6F5065EA89}" dt="2024-06-04T20:03:30.484" v="31"/>
          <ac:spMkLst>
            <pc:docMk/>
            <pc:sldMk cId="581567723" sldId="4998"/>
            <ac:spMk id="85" creationId="{AF84519F-0296-46EC-927A-6E8E75F115F2}"/>
          </ac:spMkLst>
        </pc:spChg>
        <pc:spChg chg="add mod">
          <ac:chgData name="Jacob, Karen (SPAC/PSPC) (elle-la / she-her)" userId="66e9cce0-e37b-4645-a907-f7690bd68dfb" providerId="ADAL" clId="{871AC57A-6E3B-4D85-BA02-8D6F5065EA89}" dt="2024-06-04T20:03:30.484" v="31"/>
          <ac:spMkLst>
            <pc:docMk/>
            <pc:sldMk cId="581567723" sldId="4998"/>
            <ac:spMk id="86" creationId="{02D65085-DD4A-475B-A055-7AD1E83E702F}"/>
          </ac:spMkLst>
        </pc:spChg>
        <pc:spChg chg="add mod">
          <ac:chgData name="Jacob, Karen (SPAC/PSPC) (elle-la / she-her)" userId="66e9cce0-e37b-4645-a907-f7690bd68dfb" providerId="ADAL" clId="{871AC57A-6E3B-4D85-BA02-8D6F5065EA89}" dt="2024-06-04T20:03:30.484" v="31"/>
          <ac:spMkLst>
            <pc:docMk/>
            <pc:sldMk cId="581567723" sldId="4998"/>
            <ac:spMk id="87" creationId="{0D79E2BB-6DF6-4A55-A6F4-F580465F5743}"/>
          </ac:spMkLst>
        </pc:spChg>
        <pc:spChg chg="add mod">
          <ac:chgData name="Jacob, Karen (SPAC/PSPC) (elle-la / she-her)" userId="66e9cce0-e37b-4645-a907-f7690bd68dfb" providerId="ADAL" clId="{871AC57A-6E3B-4D85-BA02-8D6F5065EA89}" dt="2024-06-04T20:03:30.484" v="31"/>
          <ac:spMkLst>
            <pc:docMk/>
            <pc:sldMk cId="581567723" sldId="4998"/>
            <ac:spMk id="88" creationId="{56B9177D-3490-4BC1-8F95-3E7E00647793}"/>
          </ac:spMkLst>
        </pc:spChg>
        <pc:spChg chg="add mod">
          <ac:chgData name="Jacob, Karen (SPAC/PSPC) (elle-la / she-her)" userId="66e9cce0-e37b-4645-a907-f7690bd68dfb" providerId="ADAL" clId="{871AC57A-6E3B-4D85-BA02-8D6F5065EA89}" dt="2024-06-04T20:03:30.484" v="31"/>
          <ac:spMkLst>
            <pc:docMk/>
            <pc:sldMk cId="581567723" sldId="4998"/>
            <ac:spMk id="89" creationId="{6DB69479-8F24-430C-A591-836532D9DF47}"/>
          </ac:spMkLst>
        </pc:spChg>
        <pc:spChg chg="add mod">
          <ac:chgData name="Jacob, Karen (SPAC/PSPC) (elle-la / she-her)" userId="66e9cce0-e37b-4645-a907-f7690bd68dfb" providerId="ADAL" clId="{871AC57A-6E3B-4D85-BA02-8D6F5065EA89}" dt="2024-06-04T20:03:30.484" v="31"/>
          <ac:spMkLst>
            <pc:docMk/>
            <pc:sldMk cId="581567723" sldId="4998"/>
            <ac:spMk id="90" creationId="{BD8FE8FD-36A9-4CBE-8EF0-DC5BD427B29C}"/>
          </ac:spMkLst>
        </pc:spChg>
        <pc:spChg chg="add mod">
          <ac:chgData name="Jacob, Karen (SPAC/PSPC) (elle-la / she-her)" userId="66e9cce0-e37b-4645-a907-f7690bd68dfb" providerId="ADAL" clId="{871AC57A-6E3B-4D85-BA02-8D6F5065EA89}" dt="2024-06-04T20:03:30.484" v="31"/>
          <ac:spMkLst>
            <pc:docMk/>
            <pc:sldMk cId="581567723" sldId="4998"/>
            <ac:spMk id="91" creationId="{C7D08EDC-D400-4AF2-A1CA-5AE1D5A9F95C}"/>
          </ac:spMkLst>
        </pc:spChg>
        <pc:spChg chg="add mod">
          <ac:chgData name="Jacob, Karen (SPAC/PSPC) (elle-la / she-her)" userId="66e9cce0-e37b-4645-a907-f7690bd68dfb" providerId="ADAL" clId="{871AC57A-6E3B-4D85-BA02-8D6F5065EA89}" dt="2024-06-04T20:03:30.484" v="31"/>
          <ac:spMkLst>
            <pc:docMk/>
            <pc:sldMk cId="581567723" sldId="4998"/>
            <ac:spMk id="92" creationId="{93D3ED72-9264-41B5-9B08-7750C2DE0CB8}"/>
          </ac:spMkLst>
        </pc:spChg>
        <pc:spChg chg="add mod">
          <ac:chgData name="Jacob, Karen (SPAC/PSPC) (elle-la / she-her)" userId="66e9cce0-e37b-4645-a907-f7690bd68dfb" providerId="ADAL" clId="{871AC57A-6E3B-4D85-BA02-8D6F5065EA89}" dt="2024-06-04T20:03:30.484" v="31"/>
          <ac:spMkLst>
            <pc:docMk/>
            <pc:sldMk cId="581567723" sldId="4998"/>
            <ac:spMk id="93" creationId="{A8FF5BF6-F427-4D20-8EB1-65CFC1724605}"/>
          </ac:spMkLst>
        </pc:spChg>
        <pc:spChg chg="add mod">
          <ac:chgData name="Jacob, Karen (SPAC/PSPC) (elle-la / she-her)" userId="66e9cce0-e37b-4645-a907-f7690bd68dfb" providerId="ADAL" clId="{871AC57A-6E3B-4D85-BA02-8D6F5065EA89}" dt="2024-06-04T20:03:30.484" v="31"/>
          <ac:spMkLst>
            <pc:docMk/>
            <pc:sldMk cId="581567723" sldId="4998"/>
            <ac:spMk id="94" creationId="{725DBB61-FAC8-4335-9AA6-6637B839F3D6}"/>
          </ac:spMkLst>
        </pc:spChg>
        <pc:spChg chg="add mod">
          <ac:chgData name="Jacob, Karen (SPAC/PSPC) (elle-la / she-her)" userId="66e9cce0-e37b-4645-a907-f7690bd68dfb" providerId="ADAL" clId="{871AC57A-6E3B-4D85-BA02-8D6F5065EA89}" dt="2024-06-04T20:03:30.484" v="31"/>
          <ac:spMkLst>
            <pc:docMk/>
            <pc:sldMk cId="581567723" sldId="4998"/>
            <ac:spMk id="95" creationId="{B6FBD31A-5436-4C16-8F43-E55F069274F5}"/>
          </ac:spMkLst>
        </pc:spChg>
        <pc:spChg chg="add mod">
          <ac:chgData name="Jacob, Karen (SPAC/PSPC) (elle-la / she-her)" userId="66e9cce0-e37b-4645-a907-f7690bd68dfb" providerId="ADAL" clId="{871AC57A-6E3B-4D85-BA02-8D6F5065EA89}" dt="2024-06-04T20:03:30.484" v="31"/>
          <ac:spMkLst>
            <pc:docMk/>
            <pc:sldMk cId="581567723" sldId="4998"/>
            <ac:spMk id="96" creationId="{F2120E17-A69B-462C-8B21-8EE196B4E81D}"/>
          </ac:spMkLst>
        </pc:spChg>
        <pc:spChg chg="add mod">
          <ac:chgData name="Jacob, Karen (SPAC/PSPC) (elle-la / she-her)" userId="66e9cce0-e37b-4645-a907-f7690bd68dfb" providerId="ADAL" clId="{871AC57A-6E3B-4D85-BA02-8D6F5065EA89}" dt="2024-06-04T20:03:30.484" v="31"/>
          <ac:spMkLst>
            <pc:docMk/>
            <pc:sldMk cId="581567723" sldId="4998"/>
            <ac:spMk id="97" creationId="{9814AE1D-E9AA-4FE6-9DB5-05AACAE7A30A}"/>
          </ac:spMkLst>
        </pc:spChg>
        <pc:spChg chg="add mod">
          <ac:chgData name="Jacob, Karen (SPAC/PSPC) (elle-la / she-her)" userId="66e9cce0-e37b-4645-a907-f7690bd68dfb" providerId="ADAL" clId="{871AC57A-6E3B-4D85-BA02-8D6F5065EA89}" dt="2024-06-04T20:03:30.484" v="31"/>
          <ac:spMkLst>
            <pc:docMk/>
            <pc:sldMk cId="581567723" sldId="4998"/>
            <ac:spMk id="98" creationId="{E4C5ACC5-D963-4E98-AF5C-C330DA3B98B4}"/>
          </ac:spMkLst>
        </pc:spChg>
        <pc:spChg chg="add mod">
          <ac:chgData name="Jacob, Karen (SPAC/PSPC) (elle-la / she-her)" userId="66e9cce0-e37b-4645-a907-f7690bd68dfb" providerId="ADAL" clId="{871AC57A-6E3B-4D85-BA02-8D6F5065EA89}" dt="2024-06-04T20:03:30.484" v="31"/>
          <ac:spMkLst>
            <pc:docMk/>
            <pc:sldMk cId="581567723" sldId="4998"/>
            <ac:spMk id="99" creationId="{943262C8-94B0-46A8-A48C-BF1D0EDD0760}"/>
          </ac:spMkLst>
        </pc:spChg>
        <pc:spChg chg="add mod">
          <ac:chgData name="Jacob, Karen (SPAC/PSPC) (elle-la / she-her)" userId="66e9cce0-e37b-4645-a907-f7690bd68dfb" providerId="ADAL" clId="{871AC57A-6E3B-4D85-BA02-8D6F5065EA89}" dt="2024-06-04T20:03:30.484" v="31"/>
          <ac:spMkLst>
            <pc:docMk/>
            <pc:sldMk cId="581567723" sldId="4998"/>
            <ac:spMk id="100" creationId="{F4EB67C5-A05D-4790-8033-9F6BFBA17231}"/>
          </ac:spMkLst>
        </pc:spChg>
        <pc:spChg chg="add mod">
          <ac:chgData name="Jacob, Karen (SPAC/PSPC) (elle-la / she-her)" userId="66e9cce0-e37b-4645-a907-f7690bd68dfb" providerId="ADAL" clId="{871AC57A-6E3B-4D85-BA02-8D6F5065EA89}" dt="2024-06-04T20:03:30.484" v="31"/>
          <ac:spMkLst>
            <pc:docMk/>
            <pc:sldMk cId="581567723" sldId="4998"/>
            <ac:spMk id="101" creationId="{C123A7F2-D10A-44D6-862A-1290AA2524EA}"/>
          </ac:spMkLst>
        </pc:spChg>
        <pc:spChg chg="add mod">
          <ac:chgData name="Jacob, Karen (SPAC/PSPC) (elle-la / she-her)" userId="66e9cce0-e37b-4645-a907-f7690bd68dfb" providerId="ADAL" clId="{871AC57A-6E3B-4D85-BA02-8D6F5065EA89}" dt="2024-06-04T20:03:30.484" v="31"/>
          <ac:spMkLst>
            <pc:docMk/>
            <pc:sldMk cId="581567723" sldId="4998"/>
            <ac:spMk id="102" creationId="{6B2AD6FF-75F6-4BEC-B0E2-2106CF8D85EF}"/>
          </ac:spMkLst>
        </pc:spChg>
        <pc:spChg chg="add mod">
          <ac:chgData name="Jacob, Karen (SPAC/PSPC) (elle-la / she-her)" userId="66e9cce0-e37b-4645-a907-f7690bd68dfb" providerId="ADAL" clId="{871AC57A-6E3B-4D85-BA02-8D6F5065EA89}" dt="2024-06-04T20:03:30.484" v="31"/>
          <ac:spMkLst>
            <pc:docMk/>
            <pc:sldMk cId="581567723" sldId="4998"/>
            <ac:spMk id="103" creationId="{F8538060-124E-4F48-95E7-9D1FC44DCE29}"/>
          </ac:spMkLst>
        </pc:spChg>
        <pc:spChg chg="add mod">
          <ac:chgData name="Jacob, Karen (SPAC/PSPC) (elle-la / she-her)" userId="66e9cce0-e37b-4645-a907-f7690bd68dfb" providerId="ADAL" clId="{871AC57A-6E3B-4D85-BA02-8D6F5065EA89}" dt="2024-06-04T20:03:30.484" v="31"/>
          <ac:spMkLst>
            <pc:docMk/>
            <pc:sldMk cId="581567723" sldId="4998"/>
            <ac:spMk id="104" creationId="{E0ACDE9C-AF7C-4AC2-BF82-0C109FA4FA72}"/>
          </ac:spMkLst>
        </pc:spChg>
        <pc:spChg chg="add mod">
          <ac:chgData name="Jacob, Karen (SPAC/PSPC) (elle-la / she-her)" userId="66e9cce0-e37b-4645-a907-f7690bd68dfb" providerId="ADAL" clId="{871AC57A-6E3B-4D85-BA02-8D6F5065EA89}" dt="2024-06-04T20:03:30.484" v="31"/>
          <ac:spMkLst>
            <pc:docMk/>
            <pc:sldMk cId="581567723" sldId="4998"/>
            <ac:spMk id="105" creationId="{64E49C9C-34D0-4E1C-8A8F-94224E21ACA4}"/>
          </ac:spMkLst>
        </pc:spChg>
        <pc:spChg chg="add mod">
          <ac:chgData name="Jacob, Karen (SPAC/PSPC) (elle-la / she-her)" userId="66e9cce0-e37b-4645-a907-f7690bd68dfb" providerId="ADAL" clId="{871AC57A-6E3B-4D85-BA02-8D6F5065EA89}" dt="2024-06-04T20:03:30.484" v="31"/>
          <ac:spMkLst>
            <pc:docMk/>
            <pc:sldMk cId="581567723" sldId="4998"/>
            <ac:spMk id="106" creationId="{974E5BD2-C1A4-4310-AB62-C664A5981DBB}"/>
          </ac:spMkLst>
        </pc:spChg>
        <pc:spChg chg="add mod">
          <ac:chgData name="Jacob, Karen (SPAC/PSPC) (elle-la / she-her)" userId="66e9cce0-e37b-4645-a907-f7690bd68dfb" providerId="ADAL" clId="{871AC57A-6E3B-4D85-BA02-8D6F5065EA89}" dt="2024-06-04T20:03:30.484" v="31"/>
          <ac:spMkLst>
            <pc:docMk/>
            <pc:sldMk cId="581567723" sldId="4998"/>
            <ac:spMk id="107" creationId="{0AC9074B-D980-4167-8282-6847643BDA14}"/>
          </ac:spMkLst>
        </pc:spChg>
        <pc:spChg chg="add mod">
          <ac:chgData name="Jacob, Karen (SPAC/PSPC) (elle-la / she-her)" userId="66e9cce0-e37b-4645-a907-f7690bd68dfb" providerId="ADAL" clId="{871AC57A-6E3B-4D85-BA02-8D6F5065EA89}" dt="2024-06-04T20:03:30.484" v="31"/>
          <ac:spMkLst>
            <pc:docMk/>
            <pc:sldMk cId="581567723" sldId="4998"/>
            <ac:spMk id="108" creationId="{B08827D0-B6FA-4BE6-8966-D3541075B0D6}"/>
          </ac:spMkLst>
        </pc:spChg>
        <pc:spChg chg="add mod">
          <ac:chgData name="Jacob, Karen (SPAC/PSPC) (elle-la / she-her)" userId="66e9cce0-e37b-4645-a907-f7690bd68dfb" providerId="ADAL" clId="{871AC57A-6E3B-4D85-BA02-8D6F5065EA89}" dt="2024-06-04T20:03:30.484" v="31"/>
          <ac:spMkLst>
            <pc:docMk/>
            <pc:sldMk cId="581567723" sldId="4998"/>
            <ac:spMk id="109" creationId="{052C70B8-E11B-46D8-9E76-5D7C0ABF20B8}"/>
          </ac:spMkLst>
        </pc:spChg>
        <pc:spChg chg="add mod">
          <ac:chgData name="Jacob, Karen (SPAC/PSPC) (elle-la / she-her)" userId="66e9cce0-e37b-4645-a907-f7690bd68dfb" providerId="ADAL" clId="{871AC57A-6E3B-4D85-BA02-8D6F5065EA89}" dt="2024-06-04T20:03:30.484" v="31"/>
          <ac:spMkLst>
            <pc:docMk/>
            <pc:sldMk cId="581567723" sldId="4998"/>
            <ac:spMk id="110" creationId="{50D981BE-A9F5-41EA-A906-1D3A5309B736}"/>
          </ac:spMkLst>
        </pc:spChg>
        <pc:spChg chg="add mod">
          <ac:chgData name="Jacob, Karen (SPAC/PSPC) (elle-la / she-her)" userId="66e9cce0-e37b-4645-a907-f7690bd68dfb" providerId="ADAL" clId="{871AC57A-6E3B-4D85-BA02-8D6F5065EA89}" dt="2024-06-04T20:03:30.484" v="31"/>
          <ac:spMkLst>
            <pc:docMk/>
            <pc:sldMk cId="581567723" sldId="4998"/>
            <ac:spMk id="111" creationId="{BF98DB2D-62A6-4BDF-90A8-1D930D9531E3}"/>
          </ac:spMkLst>
        </pc:spChg>
        <pc:spChg chg="add mod">
          <ac:chgData name="Jacob, Karen (SPAC/PSPC) (elle-la / she-her)" userId="66e9cce0-e37b-4645-a907-f7690bd68dfb" providerId="ADAL" clId="{871AC57A-6E3B-4D85-BA02-8D6F5065EA89}" dt="2024-06-04T20:03:30.484" v="31"/>
          <ac:spMkLst>
            <pc:docMk/>
            <pc:sldMk cId="581567723" sldId="4998"/>
            <ac:spMk id="112" creationId="{0B8EA684-C526-4015-AB3E-D5CED4B24349}"/>
          </ac:spMkLst>
        </pc:spChg>
        <pc:spChg chg="add mod">
          <ac:chgData name="Jacob, Karen (SPAC/PSPC) (elle-la / she-her)" userId="66e9cce0-e37b-4645-a907-f7690bd68dfb" providerId="ADAL" clId="{871AC57A-6E3B-4D85-BA02-8D6F5065EA89}" dt="2024-06-04T20:03:30.484" v="31"/>
          <ac:spMkLst>
            <pc:docMk/>
            <pc:sldMk cId="581567723" sldId="4998"/>
            <ac:spMk id="113" creationId="{EEB5C5E9-3B66-42D4-A153-77D9D0FE286A}"/>
          </ac:spMkLst>
        </pc:spChg>
        <pc:spChg chg="add mod">
          <ac:chgData name="Jacob, Karen (SPAC/PSPC) (elle-la / she-her)" userId="66e9cce0-e37b-4645-a907-f7690bd68dfb" providerId="ADAL" clId="{871AC57A-6E3B-4D85-BA02-8D6F5065EA89}" dt="2024-06-04T20:03:30.484" v="31"/>
          <ac:spMkLst>
            <pc:docMk/>
            <pc:sldMk cId="581567723" sldId="4998"/>
            <ac:spMk id="114" creationId="{115AD709-94C6-4143-8907-6FEED4B54995}"/>
          </ac:spMkLst>
        </pc:spChg>
        <pc:spChg chg="add mod">
          <ac:chgData name="Jacob, Karen (SPAC/PSPC) (elle-la / she-her)" userId="66e9cce0-e37b-4645-a907-f7690bd68dfb" providerId="ADAL" clId="{871AC57A-6E3B-4D85-BA02-8D6F5065EA89}" dt="2024-07-09T13:58:50.495" v="6985" actId="1035"/>
          <ac:spMkLst>
            <pc:docMk/>
            <pc:sldMk cId="581567723" sldId="4998"/>
            <ac:spMk id="115" creationId="{99B313E4-68F8-0E05-784F-777B53C53AD8}"/>
          </ac:spMkLst>
        </pc:spChg>
        <pc:spChg chg="add mod">
          <ac:chgData name="Jacob, Karen (SPAC/PSPC) (elle-la / she-her)" userId="66e9cce0-e37b-4645-a907-f7690bd68dfb" providerId="ADAL" clId="{871AC57A-6E3B-4D85-BA02-8D6F5065EA89}" dt="2024-06-21T12:40:53.153" v="326" actId="6549"/>
          <ac:spMkLst>
            <pc:docMk/>
            <pc:sldMk cId="581567723" sldId="4998"/>
            <ac:spMk id="116" creationId="{D977104C-37CA-F758-7243-30B07DD8013A}"/>
          </ac:spMkLst>
        </pc:spChg>
        <pc:spChg chg="add mod">
          <ac:chgData name="Jacob, Karen (SPAC/PSPC) (elle-la / she-her)" userId="66e9cce0-e37b-4645-a907-f7690bd68dfb" providerId="ADAL" clId="{871AC57A-6E3B-4D85-BA02-8D6F5065EA89}" dt="2024-06-21T12:43:01.524" v="419" actId="1036"/>
          <ac:spMkLst>
            <pc:docMk/>
            <pc:sldMk cId="581567723" sldId="4998"/>
            <ac:spMk id="117" creationId="{C9DAC2A6-C89F-2DC3-5552-32890189A83F}"/>
          </ac:spMkLst>
        </pc:spChg>
        <pc:spChg chg="add mod">
          <ac:chgData name="Jacob, Karen (SPAC/PSPC) (elle-la / she-her)" userId="66e9cce0-e37b-4645-a907-f7690bd68dfb" providerId="ADAL" clId="{871AC57A-6E3B-4D85-BA02-8D6F5065EA89}" dt="2024-07-09T13:08:47.131" v="6290" actId="20577"/>
          <ac:spMkLst>
            <pc:docMk/>
            <pc:sldMk cId="581567723" sldId="4998"/>
            <ac:spMk id="118" creationId="{03606830-0145-BF89-5080-5EDD4851A9CA}"/>
          </ac:spMkLst>
        </pc:spChg>
        <pc:spChg chg="add mod">
          <ac:chgData name="Jacob, Karen (SPAC/PSPC) (elle-la / she-her)" userId="66e9cce0-e37b-4645-a907-f7690bd68dfb" providerId="ADAL" clId="{871AC57A-6E3B-4D85-BA02-8D6F5065EA89}" dt="2024-06-21T12:43:01.524" v="419" actId="1036"/>
          <ac:spMkLst>
            <pc:docMk/>
            <pc:sldMk cId="581567723" sldId="4998"/>
            <ac:spMk id="121" creationId="{66B4CDA5-6D84-9E6F-207A-6E00AF65A892}"/>
          </ac:spMkLst>
        </pc:spChg>
        <pc:spChg chg="add mod">
          <ac:chgData name="Jacob, Karen (SPAC/PSPC) (elle-la / she-her)" userId="66e9cce0-e37b-4645-a907-f7690bd68dfb" providerId="ADAL" clId="{871AC57A-6E3B-4D85-BA02-8D6F5065EA89}" dt="2024-06-21T12:45:09.449" v="460" actId="20577"/>
          <ac:spMkLst>
            <pc:docMk/>
            <pc:sldMk cId="581567723" sldId="4998"/>
            <ac:spMk id="122" creationId="{A9D90BF1-5FA9-70F0-2114-74B647F61343}"/>
          </ac:spMkLst>
        </pc:spChg>
        <pc:spChg chg="add mod">
          <ac:chgData name="Jacob, Karen (SPAC/PSPC) (elle-la / she-her)" userId="66e9cce0-e37b-4645-a907-f7690bd68dfb" providerId="ADAL" clId="{871AC57A-6E3B-4D85-BA02-8D6F5065EA89}" dt="2024-07-09T13:58:44.995" v="6977" actId="1076"/>
          <ac:spMkLst>
            <pc:docMk/>
            <pc:sldMk cId="581567723" sldId="4998"/>
            <ac:spMk id="123" creationId="{96958ADE-A4CF-B97E-6CC3-E67FA3D6703E}"/>
          </ac:spMkLst>
        </pc:spChg>
        <pc:spChg chg="add mod">
          <ac:chgData name="Jacob, Karen (SPAC/PSPC) (elle-la / she-her)" userId="66e9cce0-e37b-4645-a907-f7690bd68dfb" providerId="ADAL" clId="{871AC57A-6E3B-4D85-BA02-8D6F5065EA89}" dt="2024-06-04T20:08:42.193" v="68" actId="400"/>
          <ac:spMkLst>
            <pc:docMk/>
            <pc:sldMk cId="581567723" sldId="4998"/>
            <ac:spMk id="124" creationId="{D42E50EC-09BD-1D9A-3AA5-B3779C9D68F8}"/>
          </ac:spMkLst>
        </pc:spChg>
        <pc:spChg chg="add mod">
          <ac:chgData name="Jacob, Karen (SPAC/PSPC) (elle-la / she-her)" userId="66e9cce0-e37b-4645-a907-f7690bd68dfb" providerId="ADAL" clId="{871AC57A-6E3B-4D85-BA02-8D6F5065EA89}" dt="2024-07-09T15:20:28.450" v="7097" actId="14100"/>
          <ac:spMkLst>
            <pc:docMk/>
            <pc:sldMk cId="581567723" sldId="4998"/>
            <ac:spMk id="125" creationId="{C3A1B379-6571-1C49-58FA-89CBE354E722}"/>
          </ac:spMkLst>
        </pc:spChg>
        <pc:spChg chg="add mod">
          <ac:chgData name="Jacob, Karen (SPAC/PSPC) (elle-la / she-her)" userId="66e9cce0-e37b-4645-a907-f7690bd68dfb" providerId="ADAL" clId="{871AC57A-6E3B-4D85-BA02-8D6F5065EA89}" dt="2024-07-09T15:20:22.221" v="7095" actId="14100"/>
          <ac:spMkLst>
            <pc:docMk/>
            <pc:sldMk cId="581567723" sldId="4998"/>
            <ac:spMk id="126" creationId="{1D166D08-6E2D-80DD-6808-092F6378AC03}"/>
          </ac:spMkLst>
        </pc:spChg>
        <pc:spChg chg="add mod">
          <ac:chgData name="Jacob, Karen (SPAC/PSPC) (elle-la / she-her)" userId="66e9cce0-e37b-4645-a907-f7690bd68dfb" providerId="ADAL" clId="{871AC57A-6E3B-4D85-BA02-8D6F5065EA89}" dt="2024-06-04T20:08:47.658" v="69" actId="400"/>
          <ac:spMkLst>
            <pc:docMk/>
            <pc:sldMk cId="581567723" sldId="4998"/>
            <ac:spMk id="127" creationId="{66533980-1485-F682-A323-EED21142DA01}"/>
          </ac:spMkLst>
        </pc:spChg>
        <pc:spChg chg="add mod">
          <ac:chgData name="Jacob, Karen (SPAC/PSPC) (elle-la / she-her)" userId="66e9cce0-e37b-4645-a907-f7690bd68dfb" providerId="ADAL" clId="{871AC57A-6E3B-4D85-BA02-8D6F5065EA89}" dt="2024-07-09T13:58:50.495" v="6985" actId="1035"/>
          <ac:spMkLst>
            <pc:docMk/>
            <pc:sldMk cId="581567723" sldId="4998"/>
            <ac:spMk id="130" creationId="{37927CF3-81AF-9EC4-5FAE-0F465D84F953}"/>
          </ac:spMkLst>
        </pc:spChg>
        <pc:spChg chg="add mod">
          <ac:chgData name="Jacob, Karen (SPAC/PSPC) (elle-la / she-her)" userId="66e9cce0-e37b-4645-a907-f7690bd68dfb" providerId="ADAL" clId="{871AC57A-6E3B-4D85-BA02-8D6F5065EA89}" dt="2024-07-09T15:20:17.989" v="7094" actId="14100"/>
          <ac:spMkLst>
            <pc:docMk/>
            <pc:sldMk cId="581567723" sldId="4998"/>
            <ac:spMk id="131" creationId="{F71F5B42-71A6-85F9-508A-7ED7FF32727F}"/>
          </ac:spMkLst>
        </pc:spChg>
        <pc:spChg chg="add mod">
          <ac:chgData name="Jacob, Karen (SPAC/PSPC) (elle-la / she-her)" userId="66e9cce0-e37b-4645-a907-f7690bd68dfb" providerId="ADAL" clId="{871AC57A-6E3B-4D85-BA02-8D6F5065EA89}" dt="2024-07-09T15:19:03.396" v="7064" actId="1076"/>
          <ac:spMkLst>
            <pc:docMk/>
            <pc:sldMk cId="581567723" sldId="4998"/>
            <ac:spMk id="132" creationId="{972E62F7-856E-E74B-98EE-589692A22E88}"/>
          </ac:spMkLst>
        </pc:spChg>
        <pc:spChg chg="add mod">
          <ac:chgData name="Jacob, Karen (SPAC/PSPC) (elle-la / she-her)" userId="66e9cce0-e37b-4645-a907-f7690bd68dfb" providerId="ADAL" clId="{871AC57A-6E3B-4D85-BA02-8D6F5065EA89}" dt="2024-06-21T12:43:01.524" v="419" actId="1036"/>
          <ac:spMkLst>
            <pc:docMk/>
            <pc:sldMk cId="581567723" sldId="4998"/>
            <ac:spMk id="139" creationId="{CF62872A-6A4F-E4F7-4AD7-DBC7CF7BE7BB}"/>
          </ac:spMkLst>
        </pc:spChg>
        <pc:spChg chg="add mod">
          <ac:chgData name="Jacob, Karen (SPAC/PSPC) (elle-la / she-her)" userId="66e9cce0-e37b-4645-a907-f7690bd68dfb" providerId="ADAL" clId="{871AC57A-6E3B-4D85-BA02-8D6F5065EA89}" dt="2024-06-21T12:43:01.524" v="419" actId="1036"/>
          <ac:spMkLst>
            <pc:docMk/>
            <pc:sldMk cId="581567723" sldId="4998"/>
            <ac:spMk id="140" creationId="{87C4F373-56FB-50EB-6CCC-792F927472E9}"/>
          </ac:spMkLst>
        </pc:spChg>
        <pc:spChg chg="add mod">
          <ac:chgData name="Jacob, Karen (SPAC/PSPC) (elle-la / she-her)" userId="66e9cce0-e37b-4645-a907-f7690bd68dfb" providerId="ADAL" clId="{871AC57A-6E3B-4D85-BA02-8D6F5065EA89}" dt="2024-06-21T12:43:01.524" v="419" actId="1036"/>
          <ac:spMkLst>
            <pc:docMk/>
            <pc:sldMk cId="581567723" sldId="4998"/>
            <ac:spMk id="141" creationId="{17FBC5D0-2E45-786B-E37F-05FC411779FD}"/>
          </ac:spMkLst>
        </pc:spChg>
        <pc:spChg chg="add mod">
          <ac:chgData name="Jacob, Karen (SPAC/PSPC) (elle-la / she-her)" userId="66e9cce0-e37b-4645-a907-f7690bd68dfb" providerId="ADAL" clId="{871AC57A-6E3B-4D85-BA02-8D6F5065EA89}" dt="2024-06-21T12:43:01.524" v="419" actId="1036"/>
          <ac:spMkLst>
            <pc:docMk/>
            <pc:sldMk cId="581567723" sldId="4998"/>
            <ac:spMk id="142" creationId="{04BB34E7-9632-DF5A-FACE-1B455C81662D}"/>
          </ac:spMkLst>
        </pc:spChg>
        <pc:spChg chg="add mod">
          <ac:chgData name="Jacob, Karen (SPAC/PSPC) (elle-la / she-her)" userId="66e9cce0-e37b-4645-a907-f7690bd68dfb" providerId="ADAL" clId="{871AC57A-6E3B-4D85-BA02-8D6F5065EA89}" dt="2024-06-21T12:43:01.524" v="419" actId="1036"/>
          <ac:spMkLst>
            <pc:docMk/>
            <pc:sldMk cId="581567723" sldId="4998"/>
            <ac:spMk id="143" creationId="{99299495-1A75-D054-0CD4-F2DDFCDAD165}"/>
          </ac:spMkLst>
        </pc:spChg>
        <pc:spChg chg="add mod">
          <ac:chgData name="Jacob, Karen (SPAC/PSPC) (elle-la / she-her)" userId="66e9cce0-e37b-4645-a907-f7690bd68dfb" providerId="ADAL" clId="{871AC57A-6E3B-4D85-BA02-8D6F5065EA89}" dt="2024-06-21T12:43:01.524" v="419" actId="1036"/>
          <ac:spMkLst>
            <pc:docMk/>
            <pc:sldMk cId="581567723" sldId="4998"/>
            <ac:spMk id="144" creationId="{1890C364-13EC-8AA3-D9B8-25BECFFB618D}"/>
          </ac:spMkLst>
        </pc:spChg>
        <pc:spChg chg="add mod">
          <ac:chgData name="Jacob, Karen (SPAC/PSPC) (elle-la / she-her)" userId="66e9cce0-e37b-4645-a907-f7690bd68dfb" providerId="ADAL" clId="{871AC57A-6E3B-4D85-BA02-8D6F5065EA89}" dt="2024-06-21T12:43:01.524" v="419" actId="1036"/>
          <ac:spMkLst>
            <pc:docMk/>
            <pc:sldMk cId="581567723" sldId="4998"/>
            <ac:spMk id="145" creationId="{241CF055-B551-C738-8FF7-32A5EE063159}"/>
          </ac:spMkLst>
        </pc:spChg>
        <pc:spChg chg="add mod">
          <ac:chgData name="Jacob, Karen (SPAC/PSPC) (elle-la / she-her)" userId="66e9cce0-e37b-4645-a907-f7690bd68dfb" providerId="ADAL" clId="{871AC57A-6E3B-4D85-BA02-8D6F5065EA89}" dt="2024-06-21T12:43:01.524" v="419" actId="1036"/>
          <ac:spMkLst>
            <pc:docMk/>
            <pc:sldMk cId="581567723" sldId="4998"/>
            <ac:spMk id="146" creationId="{0F0337CF-E057-1035-701B-8D0F6E4ED81A}"/>
          </ac:spMkLst>
        </pc:spChg>
        <pc:spChg chg="add mod">
          <ac:chgData name="Jacob, Karen (SPAC/PSPC) (elle-la / she-her)" userId="66e9cce0-e37b-4645-a907-f7690bd68dfb" providerId="ADAL" clId="{871AC57A-6E3B-4D85-BA02-8D6F5065EA89}" dt="2024-06-21T12:43:01.524" v="419" actId="1036"/>
          <ac:spMkLst>
            <pc:docMk/>
            <pc:sldMk cId="581567723" sldId="4998"/>
            <ac:spMk id="147" creationId="{343636E2-B99B-D259-C2B5-8C58D458FF2E}"/>
          </ac:spMkLst>
        </pc:spChg>
        <pc:spChg chg="add mod">
          <ac:chgData name="Jacob, Karen (SPAC/PSPC) (elle-la / she-her)" userId="66e9cce0-e37b-4645-a907-f7690bd68dfb" providerId="ADAL" clId="{871AC57A-6E3B-4D85-BA02-8D6F5065EA89}" dt="2024-06-21T12:43:01.524" v="419" actId="1036"/>
          <ac:spMkLst>
            <pc:docMk/>
            <pc:sldMk cId="581567723" sldId="4998"/>
            <ac:spMk id="148" creationId="{216AECD0-CB3C-DCEC-EA7D-EF9B06A71D9F}"/>
          </ac:spMkLst>
        </pc:spChg>
        <pc:grpChg chg="add del mod">
          <ac:chgData name="Jacob, Karen (SPAC/PSPC) (elle-la / she-her)" userId="66e9cce0-e37b-4645-a907-f7690bd68dfb" providerId="ADAL" clId="{871AC57A-6E3B-4D85-BA02-8D6F5065EA89}" dt="2024-06-04T20:06:17.686" v="40" actId="478"/>
          <ac:grpSpMkLst>
            <pc:docMk/>
            <pc:sldMk cId="581567723" sldId="4998"/>
            <ac:grpSpMk id="4" creationId="{35C0ED0D-C6FC-405B-61C1-EE256DB12F16}"/>
          </ac:grpSpMkLst>
        </pc:grpChg>
        <pc:grpChg chg="add mod">
          <ac:chgData name="Jacob, Karen (SPAC/PSPC) (elle-la / she-her)" userId="66e9cce0-e37b-4645-a907-f7690bd68dfb" providerId="ADAL" clId="{871AC57A-6E3B-4D85-BA02-8D6F5065EA89}" dt="2024-06-04T20:03:30.484" v="31"/>
          <ac:grpSpMkLst>
            <pc:docMk/>
            <pc:sldMk cId="581567723" sldId="4998"/>
            <ac:grpSpMk id="7" creationId="{A4804B27-59A4-4DE4-A06D-91FA03F621CB}"/>
          </ac:grpSpMkLst>
        </pc:grpChg>
        <pc:grpChg chg="add mod">
          <ac:chgData name="Jacob, Karen (SPAC/PSPC) (elle-la / she-her)" userId="66e9cce0-e37b-4645-a907-f7690bd68dfb" providerId="ADAL" clId="{871AC57A-6E3B-4D85-BA02-8D6F5065EA89}" dt="2024-06-04T20:03:30.484" v="31"/>
          <ac:grpSpMkLst>
            <pc:docMk/>
            <pc:sldMk cId="581567723" sldId="4998"/>
            <ac:grpSpMk id="8" creationId="{FC2EBF14-215E-44FF-90E2-30556AF69775}"/>
          </ac:grpSpMkLst>
        </pc:grpChg>
        <pc:grpChg chg="add mod">
          <ac:chgData name="Jacob, Karen (SPAC/PSPC) (elle-la / she-her)" userId="66e9cce0-e37b-4645-a907-f7690bd68dfb" providerId="ADAL" clId="{871AC57A-6E3B-4D85-BA02-8D6F5065EA89}" dt="2024-06-04T20:03:30.484" v="31"/>
          <ac:grpSpMkLst>
            <pc:docMk/>
            <pc:sldMk cId="581567723" sldId="4998"/>
            <ac:grpSpMk id="15" creationId="{9C5C2F43-BC26-413D-AF8B-2C27DABB20B5}"/>
          </ac:grpSpMkLst>
        </pc:grpChg>
        <pc:grpChg chg="add mod">
          <ac:chgData name="Jacob, Karen (SPAC/PSPC) (elle-la / she-her)" userId="66e9cce0-e37b-4645-a907-f7690bd68dfb" providerId="ADAL" clId="{871AC57A-6E3B-4D85-BA02-8D6F5065EA89}" dt="2024-06-04T20:03:30.484" v="31"/>
          <ac:grpSpMkLst>
            <pc:docMk/>
            <pc:sldMk cId="581567723" sldId="4998"/>
            <ac:grpSpMk id="18" creationId="{88B8FFC7-3D36-47A9-AB75-03447182B0BB}"/>
          </ac:grpSpMkLst>
        </pc:grpChg>
        <pc:grpChg chg="add mod">
          <ac:chgData name="Jacob, Karen (SPAC/PSPC) (elle-la / she-her)" userId="66e9cce0-e37b-4645-a907-f7690bd68dfb" providerId="ADAL" clId="{871AC57A-6E3B-4D85-BA02-8D6F5065EA89}" dt="2024-06-04T20:03:30.484" v="31"/>
          <ac:grpSpMkLst>
            <pc:docMk/>
            <pc:sldMk cId="581567723" sldId="4998"/>
            <ac:grpSpMk id="21" creationId="{84E686C2-70AC-438A-925F-E4FC81D9F796}"/>
          </ac:grpSpMkLst>
        </pc:grpChg>
        <pc:grpChg chg="add mod">
          <ac:chgData name="Jacob, Karen (SPAC/PSPC) (elle-la / she-her)" userId="66e9cce0-e37b-4645-a907-f7690bd68dfb" providerId="ADAL" clId="{871AC57A-6E3B-4D85-BA02-8D6F5065EA89}" dt="2024-06-04T20:03:30.484" v="31"/>
          <ac:grpSpMkLst>
            <pc:docMk/>
            <pc:sldMk cId="581567723" sldId="4998"/>
            <ac:grpSpMk id="65" creationId="{2FC49C24-D759-4C63-886F-4E8D78CB4F57}"/>
          </ac:grpSpMkLst>
        </pc:grpChg>
        <pc:grpChg chg="add mod">
          <ac:chgData name="Jacob, Karen (SPAC/PSPC) (elle-la / she-her)" userId="66e9cce0-e37b-4645-a907-f7690bd68dfb" providerId="ADAL" clId="{871AC57A-6E3B-4D85-BA02-8D6F5065EA89}" dt="2024-06-04T20:03:30.484" v="31"/>
          <ac:grpSpMkLst>
            <pc:docMk/>
            <pc:sldMk cId="581567723" sldId="4998"/>
            <ac:grpSpMk id="68" creationId="{0F2AE28F-95D0-4DC4-8FFE-E3F1122C58B6}"/>
          </ac:grpSpMkLst>
        </pc:grpChg>
        <pc:grpChg chg="add mod">
          <ac:chgData name="Jacob, Karen (SPAC/PSPC) (elle-la / she-her)" userId="66e9cce0-e37b-4645-a907-f7690bd68dfb" providerId="ADAL" clId="{871AC57A-6E3B-4D85-BA02-8D6F5065EA89}" dt="2024-06-04T20:03:30.484" v="31"/>
          <ac:grpSpMkLst>
            <pc:docMk/>
            <pc:sldMk cId="581567723" sldId="4998"/>
            <ac:grpSpMk id="71" creationId="{7FEC3C45-D739-47B9-8AF6-C85503573C83}"/>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19" creationId="{35030E9D-B4CE-0B9D-28C2-9F05C1F829FA}"/>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20" creationId="{A738861C-A5D5-34D0-85CF-51FD1F064393}"/>
          </ac:grpSpMkLst>
        </pc:grpChg>
        <pc:grpChg chg="add mod">
          <ac:chgData name="Jacob, Karen (SPAC/PSPC) (elle-la / she-her)" userId="66e9cce0-e37b-4645-a907-f7690bd68dfb" providerId="ADAL" clId="{871AC57A-6E3B-4D85-BA02-8D6F5065EA89}" dt="2024-07-09T15:19:03.396" v="7064" actId="1076"/>
          <ac:grpSpMkLst>
            <pc:docMk/>
            <pc:sldMk cId="581567723" sldId="4998"/>
            <ac:grpSpMk id="135" creationId="{DFC4213B-24A7-04FD-6312-18CA7ABB7C6D}"/>
          </ac:grpSpMkLst>
        </pc:grpChg>
        <pc:picChg chg="add mod">
          <ac:chgData name="Jacob, Karen (SPAC/PSPC) (elle-la / she-her)" userId="66e9cce0-e37b-4645-a907-f7690bd68dfb" providerId="ADAL" clId="{871AC57A-6E3B-4D85-BA02-8D6F5065EA89}" dt="2024-06-04T20:03:30.484" v="31"/>
          <ac:picMkLst>
            <pc:docMk/>
            <pc:sldMk cId="581567723" sldId="4998"/>
            <ac:picMk id="12" creationId="{DCFB8BD2-0F3D-CB20-461F-8E2960575415}"/>
          </ac:picMkLst>
        </pc:picChg>
        <pc:picChg chg="add mod">
          <ac:chgData name="Jacob, Karen (SPAC/PSPC) (elle-la / she-her)" userId="66e9cce0-e37b-4645-a907-f7690bd68dfb" providerId="ADAL" clId="{871AC57A-6E3B-4D85-BA02-8D6F5065EA89}" dt="2024-06-04T20:03:30.484" v="31"/>
          <ac:picMkLst>
            <pc:docMk/>
            <pc:sldMk cId="581567723" sldId="4998"/>
            <ac:picMk id="16" creationId="{D7BC6EDF-F66A-416C-9761-30729BD3A0C5}"/>
          </ac:picMkLst>
        </pc:picChg>
        <pc:picChg chg="add mod">
          <ac:chgData name="Jacob, Karen (SPAC/PSPC) (elle-la / she-her)" userId="66e9cce0-e37b-4645-a907-f7690bd68dfb" providerId="ADAL" clId="{871AC57A-6E3B-4D85-BA02-8D6F5065EA89}" dt="2024-06-04T20:03:30.484" v="31"/>
          <ac:picMkLst>
            <pc:docMk/>
            <pc:sldMk cId="581567723" sldId="4998"/>
            <ac:picMk id="66" creationId="{F3B40228-76E4-4F57-B2D4-EFE1D2C4486F}"/>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8" creationId="{72D7B425-467D-E300-99B1-FF1BD469BAA8}"/>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9" creationId="{E625BF06-9D3F-0649-97EF-1BA8A59764D7}"/>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3" creationId="{2C4D393D-1B54-98F0-19F7-D0F7CB3EDE01}"/>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4" creationId="{5BE65366-221B-6F0C-7BDE-1611F267E4E8}"/>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6" creationId="{8A40CC07-30C0-A29C-CFB2-A0D268F96E64}"/>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7" creationId="{E2CAB800-4796-CB87-2473-059A42A0D5AB}"/>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8" creationId="{2C59B320-7562-AC56-2510-16F73B114013}"/>
          </ac:picMkLst>
        </pc:picChg>
        <pc:cxnChg chg="add del mod">
          <ac:chgData name="Jacob, Karen (SPAC/PSPC) (elle-la / she-her)" userId="66e9cce0-e37b-4645-a907-f7690bd68dfb" providerId="ADAL" clId="{871AC57A-6E3B-4D85-BA02-8D6F5065EA89}" dt="2024-06-04T20:03:55.896" v="34" actId="478"/>
          <ac:cxnSpMkLst>
            <pc:docMk/>
            <pc:sldMk cId="581567723" sldId="4998"/>
            <ac:cxnSpMk id="13" creationId="{B4BC7E40-4305-7EA3-34AC-23BB03460576}"/>
          </ac:cxnSpMkLst>
        </pc:cxnChg>
        <pc:extLst>
          <p:ext xmlns:p="http://schemas.openxmlformats.org/presentationml/2006/main" uri="{D6D511B9-2390-475A-947B-AFAB55BFBCF1}">
            <pc226:cmChg xmlns:pc226="http://schemas.microsoft.com/office/powerpoint/2022/06/main/command" chg="add del mod">
              <pc226:chgData name="Jacob, Karen (SPAC/PSPC) (elle-la / she-her)" userId="66e9cce0-e37b-4645-a907-f7690bd68dfb" providerId="ADAL" clId="{871AC57A-6E3B-4D85-BA02-8D6F5065EA89}" dt="2024-06-21T12:40:04.987" v="178"/>
              <pc2:cmMkLst xmlns:pc2="http://schemas.microsoft.com/office/powerpoint/2019/9/main/command">
                <pc:docMk/>
                <pc:sldMk cId="581567723" sldId="4998"/>
                <pc2:cmMk id="{8B689772-4A83-43CA-95F3-45412B9C008A}"/>
              </pc2:cmMkLst>
              <pc226:cmRplyChg chg="add">
                <pc226:chgData name="Jacob, Karen (SPAC/PSPC) (elle-la / she-her)" userId="66e9cce0-e37b-4645-a907-f7690bd68dfb" providerId="ADAL" clId="{871AC57A-6E3B-4D85-BA02-8D6F5065EA89}" dt="2024-06-05T15:33:49.494" v="87"/>
                <pc2:cmRplyMkLst xmlns:pc2="http://schemas.microsoft.com/office/powerpoint/2019/9/main/command">
                  <pc:docMk/>
                  <pc:sldMk cId="581567723" sldId="4998"/>
                  <pc2:cmMk id="{8B689772-4A83-43CA-95F3-45412B9C008A}"/>
                  <pc2:cmRplyMk id="{F2FEFA6A-7CF3-4F29-A085-28EA1E15041D}"/>
                </pc2:cmRplyMkLst>
              </pc226:cmRplyChg>
            </pc226:cmChg>
          </p:ext>
        </pc:extLst>
      </pc:sldChg>
      <pc:sldChg chg="addSp modSp new mod addCm modCm">
        <pc:chgData name="Jacob, Karen (SPAC/PSPC) (elle-la / she-her)" userId="66e9cce0-e37b-4645-a907-f7690bd68dfb" providerId="ADAL" clId="{871AC57A-6E3B-4D85-BA02-8D6F5065EA89}" dt="2024-06-05T17:44:18.013" v="141"/>
        <pc:sldMkLst>
          <pc:docMk/>
          <pc:sldMk cId="3194185217" sldId="5000"/>
        </pc:sldMkLst>
        <pc:spChg chg="mod">
          <ac:chgData name="Jacob, Karen (SPAC/PSPC) (elle-la / she-her)" userId="66e9cce0-e37b-4645-a907-f7690bd68dfb" providerId="ADAL" clId="{871AC57A-6E3B-4D85-BA02-8D6F5065EA89}" dt="2024-06-04T20:04:42.682" v="38"/>
          <ac:spMkLst>
            <pc:docMk/>
            <pc:sldMk cId="3194185217" sldId="5000"/>
            <ac:spMk id="4" creationId="{58011242-3B58-087A-52DA-31351CD501E0}"/>
          </ac:spMkLst>
        </pc:spChg>
        <pc:spChg chg="mod">
          <ac:chgData name="Jacob, Karen (SPAC/PSPC) (elle-la / she-her)" userId="66e9cce0-e37b-4645-a907-f7690bd68dfb" providerId="ADAL" clId="{871AC57A-6E3B-4D85-BA02-8D6F5065EA89}" dt="2024-06-04T20:04:42.682" v="38"/>
          <ac:spMkLst>
            <pc:docMk/>
            <pc:sldMk cId="3194185217" sldId="5000"/>
            <ac:spMk id="5" creationId="{022AD1F7-CC8C-3292-5DCC-261E346D205F}"/>
          </ac:spMkLst>
        </pc:spChg>
        <pc:spChg chg="mod">
          <ac:chgData name="Jacob, Karen (SPAC/PSPC) (elle-la / she-her)" userId="66e9cce0-e37b-4645-a907-f7690bd68dfb" providerId="ADAL" clId="{871AC57A-6E3B-4D85-BA02-8D6F5065EA89}" dt="2024-06-04T20:04:42.682" v="38"/>
          <ac:spMkLst>
            <pc:docMk/>
            <pc:sldMk cId="3194185217" sldId="5000"/>
            <ac:spMk id="8" creationId="{B8D3236C-F5AD-B8FE-973F-67D3C1A9171D}"/>
          </ac:spMkLst>
        </pc:spChg>
        <pc:spChg chg="mod">
          <ac:chgData name="Jacob, Karen (SPAC/PSPC) (elle-la / she-her)" userId="66e9cce0-e37b-4645-a907-f7690bd68dfb" providerId="ADAL" clId="{871AC57A-6E3B-4D85-BA02-8D6F5065EA89}" dt="2024-06-04T20:04:42.682" v="38"/>
          <ac:spMkLst>
            <pc:docMk/>
            <pc:sldMk cId="3194185217" sldId="5000"/>
            <ac:spMk id="12" creationId="{9F58768A-F5F9-3AC4-6268-3A8E7F67BD06}"/>
          </ac:spMkLst>
        </pc:spChg>
        <pc:spChg chg="mod">
          <ac:chgData name="Jacob, Karen (SPAC/PSPC) (elle-la / she-her)" userId="66e9cce0-e37b-4645-a907-f7690bd68dfb" providerId="ADAL" clId="{871AC57A-6E3B-4D85-BA02-8D6F5065EA89}" dt="2024-06-04T20:04:42.682" v="38"/>
          <ac:spMkLst>
            <pc:docMk/>
            <pc:sldMk cId="3194185217" sldId="5000"/>
            <ac:spMk id="14" creationId="{9B6A7A23-1440-018C-FB55-8B1C9009263E}"/>
          </ac:spMkLst>
        </pc:spChg>
        <pc:spChg chg="mod">
          <ac:chgData name="Jacob, Karen (SPAC/PSPC) (elle-la / she-her)" userId="66e9cce0-e37b-4645-a907-f7690bd68dfb" providerId="ADAL" clId="{871AC57A-6E3B-4D85-BA02-8D6F5065EA89}" dt="2024-06-04T20:04:42.682" v="38"/>
          <ac:spMkLst>
            <pc:docMk/>
            <pc:sldMk cId="3194185217" sldId="5000"/>
            <ac:spMk id="15" creationId="{697BB04D-D5A9-EF9D-9DE3-EAE9709340EE}"/>
          </ac:spMkLst>
        </pc:spChg>
        <pc:spChg chg="mod">
          <ac:chgData name="Jacob, Karen (SPAC/PSPC) (elle-la / she-her)" userId="66e9cce0-e37b-4645-a907-f7690bd68dfb" providerId="ADAL" clId="{871AC57A-6E3B-4D85-BA02-8D6F5065EA89}" dt="2024-06-04T20:04:42.682" v="38"/>
          <ac:spMkLst>
            <pc:docMk/>
            <pc:sldMk cId="3194185217" sldId="5000"/>
            <ac:spMk id="17" creationId="{E809A576-517F-D6FE-2A09-5E88690E1076}"/>
          </ac:spMkLst>
        </pc:spChg>
        <pc:spChg chg="mod">
          <ac:chgData name="Jacob, Karen (SPAC/PSPC) (elle-la / she-her)" userId="66e9cce0-e37b-4645-a907-f7690bd68dfb" providerId="ADAL" clId="{871AC57A-6E3B-4D85-BA02-8D6F5065EA89}" dt="2024-06-04T20:04:42.682" v="38"/>
          <ac:spMkLst>
            <pc:docMk/>
            <pc:sldMk cId="3194185217" sldId="5000"/>
            <ac:spMk id="18" creationId="{99070905-81A6-326C-1DA9-2FC78FD03718}"/>
          </ac:spMkLst>
        </pc:spChg>
        <pc:spChg chg="mod">
          <ac:chgData name="Jacob, Karen (SPAC/PSPC) (elle-la / she-her)" userId="66e9cce0-e37b-4645-a907-f7690bd68dfb" providerId="ADAL" clId="{871AC57A-6E3B-4D85-BA02-8D6F5065EA89}" dt="2024-06-04T20:04:42.682" v="38"/>
          <ac:spMkLst>
            <pc:docMk/>
            <pc:sldMk cId="3194185217" sldId="5000"/>
            <ac:spMk id="19" creationId="{BFA234D2-120A-FD69-86AE-5FB98203EDF5}"/>
          </ac:spMkLst>
        </pc:spChg>
        <pc:spChg chg="mod">
          <ac:chgData name="Jacob, Karen (SPAC/PSPC) (elle-la / she-her)" userId="66e9cce0-e37b-4645-a907-f7690bd68dfb" providerId="ADAL" clId="{871AC57A-6E3B-4D85-BA02-8D6F5065EA89}" dt="2024-06-04T20:04:42.682" v="38"/>
          <ac:spMkLst>
            <pc:docMk/>
            <pc:sldMk cId="3194185217" sldId="5000"/>
            <ac:spMk id="20" creationId="{94DCBF09-ABA2-C4B6-97FC-220DA50B7E63}"/>
          </ac:spMkLst>
        </pc:spChg>
        <pc:spChg chg="mod">
          <ac:chgData name="Jacob, Karen (SPAC/PSPC) (elle-la / she-her)" userId="66e9cce0-e37b-4645-a907-f7690bd68dfb" providerId="ADAL" clId="{871AC57A-6E3B-4D85-BA02-8D6F5065EA89}" dt="2024-06-04T20:04:42.682" v="38"/>
          <ac:spMkLst>
            <pc:docMk/>
            <pc:sldMk cId="3194185217" sldId="5000"/>
            <ac:spMk id="21" creationId="{F0F688BB-42A1-D9B9-B9A0-C12D3974EA66}"/>
          </ac:spMkLst>
        </pc:spChg>
        <pc:spChg chg="mod">
          <ac:chgData name="Jacob, Karen (SPAC/PSPC) (elle-la / she-her)" userId="66e9cce0-e37b-4645-a907-f7690bd68dfb" providerId="ADAL" clId="{871AC57A-6E3B-4D85-BA02-8D6F5065EA89}" dt="2024-06-04T20:04:42.682" v="38"/>
          <ac:spMkLst>
            <pc:docMk/>
            <pc:sldMk cId="3194185217" sldId="5000"/>
            <ac:spMk id="22" creationId="{A41FBB0B-2102-57C6-0AD2-C0EFB2054B00}"/>
          </ac:spMkLst>
        </pc:spChg>
        <pc:spChg chg="mod">
          <ac:chgData name="Jacob, Karen (SPAC/PSPC) (elle-la / she-her)" userId="66e9cce0-e37b-4645-a907-f7690bd68dfb" providerId="ADAL" clId="{871AC57A-6E3B-4D85-BA02-8D6F5065EA89}" dt="2024-06-04T20:04:42.682" v="38"/>
          <ac:spMkLst>
            <pc:docMk/>
            <pc:sldMk cId="3194185217" sldId="5000"/>
            <ac:spMk id="23" creationId="{CAC9BBCC-16BF-2166-C575-6117AF67D5CE}"/>
          </ac:spMkLst>
        </pc:spChg>
        <pc:spChg chg="mod">
          <ac:chgData name="Jacob, Karen (SPAC/PSPC) (elle-la / she-her)" userId="66e9cce0-e37b-4645-a907-f7690bd68dfb" providerId="ADAL" clId="{871AC57A-6E3B-4D85-BA02-8D6F5065EA89}" dt="2024-06-04T20:04:42.682" v="38"/>
          <ac:spMkLst>
            <pc:docMk/>
            <pc:sldMk cId="3194185217" sldId="5000"/>
            <ac:spMk id="24" creationId="{05EA8BE3-E02E-CA95-5F0F-7220417D6DCA}"/>
          </ac:spMkLst>
        </pc:spChg>
        <pc:spChg chg="mod">
          <ac:chgData name="Jacob, Karen (SPAC/PSPC) (elle-la / she-her)" userId="66e9cce0-e37b-4645-a907-f7690bd68dfb" providerId="ADAL" clId="{871AC57A-6E3B-4D85-BA02-8D6F5065EA89}" dt="2024-06-04T20:04:42.682" v="38"/>
          <ac:spMkLst>
            <pc:docMk/>
            <pc:sldMk cId="3194185217" sldId="5000"/>
            <ac:spMk id="25" creationId="{0CFE0E3C-3A84-7713-B94B-DE9EDE116076}"/>
          </ac:spMkLst>
        </pc:spChg>
        <pc:spChg chg="mod">
          <ac:chgData name="Jacob, Karen (SPAC/PSPC) (elle-la / she-her)" userId="66e9cce0-e37b-4645-a907-f7690bd68dfb" providerId="ADAL" clId="{871AC57A-6E3B-4D85-BA02-8D6F5065EA89}" dt="2024-06-04T20:04:42.682" v="38"/>
          <ac:spMkLst>
            <pc:docMk/>
            <pc:sldMk cId="3194185217" sldId="5000"/>
            <ac:spMk id="26" creationId="{77B7338D-24BF-4F85-B000-845B3C243D12}"/>
          </ac:spMkLst>
        </pc:spChg>
        <pc:spChg chg="mod">
          <ac:chgData name="Jacob, Karen (SPAC/PSPC) (elle-la / she-her)" userId="66e9cce0-e37b-4645-a907-f7690bd68dfb" providerId="ADAL" clId="{871AC57A-6E3B-4D85-BA02-8D6F5065EA89}" dt="2024-06-04T20:04:42.682" v="38"/>
          <ac:spMkLst>
            <pc:docMk/>
            <pc:sldMk cId="3194185217" sldId="5000"/>
            <ac:spMk id="27" creationId="{1EADB5FE-B786-833B-39DB-D666DFB0E08B}"/>
          </ac:spMkLst>
        </pc:spChg>
        <pc:spChg chg="mod">
          <ac:chgData name="Jacob, Karen (SPAC/PSPC) (elle-la / she-her)" userId="66e9cce0-e37b-4645-a907-f7690bd68dfb" providerId="ADAL" clId="{871AC57A-6E3B-4D85-BA02-8D6F5065EA89}" dt="2024-06-04T20:04:42.682" v="38"/>
          <ac:spMkLst>
            <pc:docMk/>
            <pc:sldMk cId="3194185217" sldId="5000"/>
            <ac:spMk id="28" creationId="{35255DDD-5061-9149-E987-91D3D6A9ADA5}"/>
          </ac:spMkLst>
        </pc:spChg>
        <pc:spChg chg="mod">
          <ac:chgData name="Jacob, Karen (SPAC/PSPC) (elle-la / she-her)" userId="66e9cce0-e37b-4645-a907-f7690bd68dfb" providerId="ADAL" clId="{871AC57A-6E3B-4D85-BA02-8D6F5065EA89}" dt="2024-06-04T20:04:42.682" v="38"/>
          <ac:spMkLst>
            <pc:docMk/>
            <pc:sldMk cId="3194185217" sldId="5000"/>
            <ac:spMk id="29" creationId="{B769BDBB-1AFF-04EE-0B61-543741C62AE6}"/>
          </ac:spMkLst>
        </pc:spChg>
        <pc:spChg chg="mod">
          <ac:chgData name="Jacob, Karen (SPAC/PSPC) (elle-la / she-her)" userId="66e9cce0-e37b-4645-a907-f7690bd68dfb" providerId="ADAL" clId="{871AC57A-6E3B-4D85-BA02-8D6F5065EA89}" dt="2024-06-04T20:04:42.682" v="38"/>
          <ac:spMkLst>
            <pc:docMk/>
            <pc:sldMk cId="3194185217" sldId="5000"/>
            <ac:spMk id="30" creationId="{796D3174-7925-097A-3DAB-14D6614E2472}"/>
          </ac:spMkLst>
        </pc:spChg>
        <pc:spChg chg="mod">
          <ac:chgData name="Jacob, Karen (SPAC/PSPC) (elle-la / she-her)" userId="66e9cce0-e37b-4645-a907-f7690bd68dfb" providerId="ADAL" clId="{871AC57A-6E3B-4D85-BA02-8D6F5065EA89}" dt="2024-06-04T20:04:42.682" v="38"/>
          <ac:spMkLst>
            <pc:docMk/>
            <pc:sldMk cId="3194185217" sldId="5000"/>
            <ac:spMk id="31" creationId="{82EB5891-A5CA-3892-1503-ECDCEF930CDF}"/>
          </ac:spMkLst>
        </pc:spChg>
        <pc:spChg chg="mod">
          <ac:chgData name="Jacob, Karen (SPAC/PSPC) (elle-la / she-her)" userId="66e9cce0-e37b-4645-a907-f7690bd68dfb" providerId="ADAL" clId="{871AC57A-6E3B-4D85-BA02-8D6F5065EA89}" dt="2024-06-04T20:04:42.682" v="38"/>
          <ac:spMkLst>
            <pc:docMk/>
            <pc:sldMk cId="3194185217" sldId="5000"/>
            <ac:spMk id="32" creationId="{E4E3A91C-A0F3-2DBD-3A42-4B868F01CE67}"/>
          </ac:spMkLst>
        </pc:spChg>
        <pc:spChg chg="mod">
          <ac:chgData name="Jacob, Karen (SPAC/PSPC) (elle-la / she-her)" userId="66e9cce0-e37b-4645-a907-f7690bd68dfb" providerId="ADAL" clId="{871AC57A-6E3B-4D85-BA02-8D6F5065EA89}" dt="2024-06-04T20:04:42.682" v="38"/>
          <ac:spMkLst>
            <pc:docMk/>
            <pc:sldMk cId="3194185217" sldId="5000"/>
            <ac:spMk id="33" creationId="{0887182C-EA58-F4C8-0A6F-6284E60A0077}"/>
          </ac:spMkLst>
        </pc:spChg>
        <pc:spChg chg="mod">
          <ac:chgData name="Jacob, Karen (SPAC/PSPC) (elle-la / she-her)" userId="66e9cce0-e37b-4645-a907-f7690bd68dfb" providerId="ADAL" clId="{871AC57A-6E3B-4D85-BA02-8D6F5065EA89}" dt="2024-06-04T20:04:42.682" v="38"/>
          <ac:spMkLst>
            <pc:docMk/>
            <pc:sldMk cId="3194185217" sldId="5000"/>
            <ac:spMk id="34" creationId="{85F2CEB4-D0CB-A3BD-A40A-DDA728B058F9}"/>
          </ac:spMkLst>
        </pc:spChg>
        <pc:spChg chg="mod">
          <ac:chgData name="Jacob, Karen (SPAC/PSPC) (elle-la / she-her)" userId="66e9cce0-e37b-4645-a907-f7690bd68dfb" providerId="ADAL" clId="{871AC57A-6E3B-4D85-BA02-8D6F5065EA89}" dt="2024-06-04T20:04:42.682" v="38"/>
          <ac:spMkLst>
            <pc:docMk/>
            <pc:sldMk cId="3194185217" sldId="5000"/>
            <ac:spMk id="35" creationId="{F5C5410F-2121-82CA-883E-FE65EBEADE9B}"/>
          </ac:spMkLst>
        </pc:spChg>
        <pc:spChg chg="mod">
          <ac:chgData name="Jacob, Karen (SPAC/PSPC) (elle-la / she-her)" userId="66e9cce0-e37b-4645-a907-f7690bd68dfb" providerId="ADAL" clId="{871AC57A-6E3B-4D85-BA02-8D6F5065EA89}" dt="2024-06-04T20:04:42.682" v="38"/>
          <ac:spMkLst>
            <pc:docMk/>
            <pc:sldMk cId="3194185217" sldId="5000"/>
            <ac:spMk id="36" creationId="{E164CD8B-6519-6488-697B-850EC3B890A6}"/>
          </ac:spMkLst>
        </pc:spChg>
        <pc:spChg chg="mod">
          <ac:chgData name="Jacob, Karen (SPAC/PSPC) (elle-la / she-her)" userId="66e9cce0-e37b-4645-a907-f7690bd68dfb" providerId="ADAL" clId="{871AC57A-6E3B-4D85-BA02-8D6F5065EA89}" dt="2024-06-04T20:04:42.682" v="38"/>
          <ac:spMkLst>
            <pc:docMk/>
            <pc:sldMk cId="3194185217" sldId="5000"/>
            <ac:spMk id="37" creationId="{A8AC4175-8E9A-70C2-56A5-B068A8EFB7D5}"/>
          </ac:spMkLst>
        </pc:spChg>
        <pc:spChg chg="mod">
          <ac:chgData name="Jacob, Karen (SPAC/PSPC) (elle-la / she-her)" userId="66e9cce0-e37b-4645-a907-f7690bd68dfb" providerId="ADAL" clId="{871AC57A-6E3B-4D85-BA02-8D6F5065EA89}" dt="2024-06-04T20:04:42.682" v="38"/>
          <ac:spMkLst>
            <pc:docMk/>
            <pc:sldMk cId="3194185217" sldId="5000"/>
            <ac:spMk id="38" creationId="{67744030-6713-B9D7-0991-3B82A9C289EE}"/>
          </ac:spMkLst>
        </pc:spChg>
        <pc:spChg chg="mod">
          <ac:chgData name="Jacob, Karen (SPAC/PSPC) (elle-la / she-her)" userId="66e9cce0-e37b-4645-a907-f7690bd68dfb" providerId="ADAL" clId="{871AC57A-6E3B-4D85-BA02-8D6F5065EA89}" dt="2024-06-04T20:04:42.682" v="38"/>
          <ac:spMkLst>
            <pc:docMk/>
            <pc:sldMk cId="3194185217" sldId="5000"/>
            <ac:spMk id="39" creationId="{3E97E9F0-DC56-D100-7B11-AEF055A97DCA}"/>
          </ac:spMkLst>
        </pc:spChg>
        <pc:spChg chg="mod">
          <ac:chgData name="Jacob, Karen (SPAC/PSPC) (elle-la / she-her)" userId="66e9cce0-e37b-4645-a907-f7690bd68dfb" providerId="ADAL" clId="{871AC57A-6E3B-4D85-BA02-8D6F5065EA89}" dt="2024-06-04T20:04:42.682" v="38"/>
          <ac:spMkLst>
            <pc:docMk/>
            <pc:sldMk cId="3194185217" sldId="5000"/>
            <ac:spMk id="40" creationId="{F7073BE9-1671-FEE7-C881-346A3AE2C475}"/>
          </ac:spMkLst>
        </pc:spChg>
        <pc:spChg chg="mod">
          <ac:chgData name="Jacob, Karen (SPAC/PSPC) (elle-la / she-her)" userId="66e9cce0-e37b-4645-a907-f7690bd68dfb" providerId="ADAL" clId="{871AC57A-6E3B-4D85-BA02-8D6F5065EA89}" dt="2024-06-04T20:04:42.682" v="38"/>
          <ac:spMkLst>
            <pc:docMk/>
            <pc:sldMk cId="3194185217" sldId="5000"/>
            <ac:spMk id="41" creationId="{06CC2BB9-287A-6152-62E0-425567B829A1}"/>
          </ac:spMkLst>
        </pc:spChg>
        <pc:spChg chg="mod">
          <ac:chgData name="Jacob, Karen (SPAC/PSPC) (elle-la / she-her)" userId="66e9cce0-e37b-4645-a907-f7690bd68dfb" providerId="ADAL" clId="{871AC57A-6E3B-4D85-BA02-8D6F5065EA89}" dt="2024-06-04T20:04:42.682" v="38"/>
          <ac:spMkLst>
            <pc:docMk/>
            <pc:sldMk cId="3194185217" sldId="5000"/>
            <ac:spMk id="42" creationId="{6893D8D9-32DD-CF92-2CC1-CE7B0500E134}"/>
          </ac:spMkLst>
        </pc:spChg>
        <pc:spChg chg="mod">
          <ac:chgData name="Jacob, Karen (SPAC/PSPC) (elle-la / she-her)" userId="66e9cce0-e37b-4645-a907-f7690bd68dfb" providerId="ADAL" clId="{871AC57A-6E3B-4D85-BA02-8D6F5065EA89}" dt="2024-06-04T20:04:42.682" v="38"/>
          <ac:spMkLst>
            <pc:docMk/>
            <pc:sldMk cId="3194185217" sldId="5000"/>
            <ac:spMk id="43" creationId="{C333FD2E-87B7-6B14-3D2B-9E4CCA21AA9E}"/>
          </ac:spMkLst>
        </pc:spChg>
        <pc:spChg chg="mod">
          <ac:chgData name="Jacob, Karen (SPAC/PSPC) (elle-la / she-her)" userId="66e9cce0-e37b-4645-a907-f7690bd68dfb" providerId="ADAL" clId="{871AC57A-6E3B-4D85-BA02-8D6F5065EA89}" dt="2024-06-04T20:04:42.682" v="38"/>
          <ac:spMkLst>
            <pc:docMk/>
            <pc:sldMk cId="3194185217" sldId="5000"/>
            <ac:spMk id="44" creationId="{416A71BF-C1C4-B629-38F7-60E0683827BE}"/>
          </ac:spMkLst>
        </pc:spChg>
        <pc:spChg chg="mod">
          <ac:chgData name="Jacob, Karen (SPAC/PSPC) (elle-la / she-her)" userId="66e9cce0-e37b-4645-a907-f7690bd68dfb" providerId="ADAL" clId="{871AC57A-6E3B-4D85-BA02-8D6F5065EA89}" dt="2024-06-04T20:04:42.682" v="38"/>
          <ac:spMkLst>
            <pc:docMk/>
            <pc:sldMk cId="3194185217" sldId="5000"/>
            <ac:spMk id="45" creationId="{98C5E74F-CC52-BDD5-5039-BC7A60803549}"/>
          </ac:spMkLst>
        </pc:spChg>
        <pc:spChg chg="mod">
          <ac:chgData name="Jacob, Karen (SPAC/PSPC) (elle-la / she-her)" userId="66e9cce0-e37b-4645-a907-f7690bd68dfb" providerId="ADAL" clId="{871AC57A-6E3B-4D85-BA02-8D6F5065EA89}" dt="2024-06-04T20:04:42.682" v="38"/>
          <ac:spMkLst>
            <pc:docMk/>
            <pc:sldMk cId="3194185217" sldId="5000"/>
            <ac:spMk id="46" creationId="{F5D8FDAD-571E-8BED-294E-116FD8CF6864}"/>
          </ac:spMkLst>
        </pc:spChg>
        <pc:spChg chg="mod">
          <ac:chgData name="Jacob, Karen (SPAC/PSPC) (elle-la / she-her)" userId="66e9cce0-e37b-4645-a907-f7690bd68dfb" providerId="ADAL" clId="{871AC57A-6E3B-4D85-BA02-8D6F5065EA89}" dt="2024-06-04T20:04:42.682" v="38"/>
          <ac:spMkLst>
            <pc:docMk/>
            <pc:sldMk cId="3194185217" sldId="5000"/>
            <ac:spMk id="47" creationId="{3B176C01-B35C-12A0-C785-76E84702C722}"/>
          </ac:spMkLst>
        </pc:spChg>
        <pc:spChg chg="mod">
          <ac:chgData name="Jacob, Karen (SPAC/PSPC) (elle-la / she-her)" userId="66e9cce0-e37b-4645-a907-f7690bd68dfb" providerId="ADAL" clId="{871AC57A-6E3B-4D85-BA02-8D6F5065EA89}" dt="2024-06-04T20:04:42.682" v="38"/>
          <ac:spMkLst>
            <pc:docMk/>
            <pc:sldMk cId="3194185217" sldId="5000"/>
            <ac:spMk id="48" creationId="{CBCCEA58-A032-F97E-E1D2-BA10AAA854E1}"/>
          </ac:spMkLst>
        </pc:spChg>
        <pc:spChg chg="mod">
          <ac:chgData name="Jacob, Karen (SPAC/PSPC) (elle-la / she-her)" userId="66e9cce0-e37b-4645-a907-f7690bd68dfb" providerId="ADAL" clId="{871AC57A-6E3B-4D85-BA02-8D6F5065EA89}" dt="2024-06-04T20:04:42.682" v="38"/>
          <ac:spMkLst>
            <pc:docMk/>
            <pc:sldMk cId="3194185217" sldId="5000"/>
            <ac:spMk id="49" creationId="{A13F8D29-D7AF-4059-F46B-DB7C1E8CA600}"/>
          </ac:spMkLst>
        </pc:spChg>
        <pc:spChg chg="mod">
          <ac:chgData name="Jacob, Karen (SPAC/PSPC) (elle-la / she-her)" userId="66e9cce0-e37b-4645-a907-f7690bd68dfb" providerId="ADAL" clId="{871AC57A-6E3B-4D85-BA02-8D6F5065EA89}" dt="2024-06-04T20:04:42.682" v="38"/>
          <ac:spMkLst>
            <pc:docMk/>
            <pc:sldMk cId="3194185217" sldId="5000"/>
            <ac:spMk id="50" creationId="{8B2A6E12-EE1D-E7A4-79CD-487DA302FC38}"/>
          </ac:spMkLst>
        </pc:spChg>
        <pc:spChg chg="mod">
          <ac:chgData name="Jacob, Karen (SPAC/PSPC) (elle-la / she-her)" userId="66e9cce0-e37b-4645-a907-f7690bd68dfb" providerId="ADAL" clId="{871AC57A-6E3B-4D85-BA02-8D6F5065EA89}" dt="2024-06-04T20:04:42.682" v="38"/>
          <ac:spMkLst>
            <pc:docMk/>
            <pc:sldMk cId="3194185217" sldId="5000"/>
            <ac:spMk id="51" creationId="{0B3E6690-78E2-CF8D-8F0F-EA15ECF5FBD6}"/>
          </ac:spMkLst>
        </pc:spChg>
        <pc:spChg chg="mod">
          <ac:chgData name="Jacob, Karen (SPAC/PSPC) (elle-la / she-her)" userId="66e9cce0-e37b-4645-a907-f7690bd68dfb" providerId="ADAL" clId="{871AC57A-6E3B-4D85-BA02-8D6F5065EA89}" dt="2024-06-04T20:04:42.682" v="38"/>
          <ac:spMkLst>
            <pc:docMk/>
            <pc:sldMk cId="3194185217" sldId="5000"/>
            <ac:spMk id="52" creationId="{7DDC9965-13FC-63C2-649C-6DD553949BEA}"/>
          </ac:spMkLst>
        </pc:spChg>
        <pc:spChg chg="mod">
          <ac:chgData name="Jacob, Karen (SPAC/PSPC) (elle-la / she-her)" userId="66e9cce0-e37b-4645-a907-f7690bd68dfb" providerId="ADAL" clId="{871AC57A-6E3B-4D85-BA02-8D6F5065EA89}" dt="2024-06-04T20:04:42.682" v="38"/>
          <ac:spMkLst>
            <pc:docMk/>
            <pc:sldMk cId="3194185217" sldId="5000"/>
            <ac:spMk id="53" creationId="{E8CD7EF2-FC5D-142D-E39A-979698AF67B5}"/>
          </ac:spMkLst>
        </pc:spChg>
        <pc:spChg chg="mod">
          <ac:chgData name="Jacob, Karen (SPAC/PSPC) (elle-la / she-her)" userId="66e9cce0-e37b-4645-a907-f7690bd68dfb" providerId="ADAL" clId="{871AC57A-6E3B-4D85-BA02-8D6F5065EA89}" dt="2024-06-04T20:04:42.682" v="38"/>
          <ac:spMkLst>
            <pc:docMk/>
            <pc:sldMk cId="3194185217" sldId="5000"/>
            <ac:spMk id="54" creationId="{A2738999-A52D-6EBC-35EB-31AA0796BD36}"/>
          </ac:spMkLst>
        </pc:spChg>
        <pc:spChg chg="mod">
          <ac:chgData name="Jacob, Karen (SPAC/PSPC) (elle-la / she-her)" userId="66e9cce0-e37b-4645-a907-f7690bd68dfb" providerId="ADAL" clId="{871AC57A-6E3B-4D85-BA02-8D6F5065EA89}" dt="2024-06-04T20:04:42.682" v="38"/>
          <ac:spMkLst>
            <pc:docMk/>
            <pc:sldMk cId="3194185217" sldId="5000"/>
            <ac:spMk id="55" creationId="{6F996561-7321-3323-DBAF-F6D9CE1FF309}"/>
          </ac:spMkLst>
        </pc:spChg>
        <pc:spChg chg="mod">
          <ac:chgData name="Jacob, Karen (SPAC/PSPC) (elle-la / she-her)" userId="66e9cce0-e37b-4645-a907-f7690bd68dfb" providerId="ADAL" clId="{871AC57A-6E3B-4D85-BA02-8D6F5065EA89}" dt="2024-06-04T20:04:42.682" v="38"/>
          <ac:spMkLst>
            <pc:docMk/>
            <pc:sldMk cId="3194185217" sldId="5000"/>
            <ac:spMk id="56" creationId="{5A3ED452-BE60-181F-9C97-203C7BF40DA7}"/>
          </ac:spMkLst>
        </pc:spChg>
        <pc:spChg chg="mod">
          <ac:chgData name="Jacob, Karen (SPAC/PSPC) (elle-la / she-her)" userId="66e9cce0-e37b-4645-a907-f7690bd68dfb" providerId="ADAL" clId="{871AC57A-6E3B-4D85-BA02-8D6F5065EA89}" dt="2024-06-04T20:04:42.682" v="38"/>
          <ac:spMkLst>
            <pc:docMk/>
            <pc:sldMk cId="3194185217" sldId="5000"/>
            <ac:spMk id="57" creationId="{1EC8989F-4D83-6D20-1012-6F5C584E9D6D}"/>
          </ac:spMkLst>
        </pc:spChg>
        <pc:spChg chg="mod">
          <ac:chgData name="Jacob, Karen (SPAC/PSPC) (elle-la / she-her)" userId="66e9cce0-e37b-4645-a907-f7690bd68dfb" providerId="ADAL" clId="{871AC57A-6E3B-4D85-BA02-8D6F5065EA89}" dt="2024-06-04T20:04:42.682" v="38"/>
          <ac:spMkLst>
            <pc:docMk/>
            <pc:sldMk cId="3194185217" sldId="5000"/>
            <ac:spMk id="58" creationId="{815DE183-7218-A4B1-B860-C06F4309AA3D}"/>
          </ac:spMkLst>
        </pc:spChg>
        <pc:spChg chg="mod">
          <ac:chgData name="Jacob, Karen (SPAC/PSPC) (elle-la / she-her)" userId="66e9cce0-e37b-4645-a907-f7690bd68dfb" providerId="ADAL" clId="{871AC57A-6E3B-4D85-BA02-8D6F5065EA89}" dt="2024-06-04T20:04:42.682" v="38"/>
          <ac:spMkLst>
            <pc:docMk/>
            <pc:sldMk cId="3194185217" sldId="5000"/>
            <ac:spMk id="59" creationId="{0CDCC43A-E910-ADA2-52ED-C41D553C3D75}"/>
          </ac:spMkLst>
        </pc:spChg>
        <pc:spChg chg="mod">
          <ac:chgData name="Jacob, Karen (SPAC/PSPC) (elle-la / she-her)" userId="66e9cce0-e37b-4645-a907-f7690bd68dfb" providerId="ADAL" clId="{871AC57A-6E3B-4D85-BA02-8D6F5065EA89}" dt="2024-06-04T20:04:42.682" v="38"/>
          <ac:spMkLst>
            <pc:docMk/>
            <pc:sldMk cId="3194185217" sldId="5000"/>
            <ac:spMk id="62" creationId="{5782BE9B-2DA4-9E7F-B316-A6EE751FB6AD}"/>
          </ac:spMkLst>
        </pc:spChg>
        <pc:spChg chg="mod">
          <ac:chgData name="Jacob, Karen (SPAC/PSPC) (elle-la / she-her)" userId="66e9cce0-e37b-4645-a907-f7690bd68dfb" providerId="ADAL" clId="{871AC57A-6E3B-4D85-BA02-8D6F5065EA89}" dt="2024-06-04T20:04:42.682" v="38"/>
          <ac:spMkLst>
            <pc:docMk/>
            <pc:sldMk cId="3194185217" sldId="5000"/>
            <ac:spMk id="64" creationId="{45855FC7-0B38-C3F8-AFE7-BDEDD1B91CF4}"/>
          </ac:spMkLst>
        </pc:spChg>
        <pc:spChg chg="mod">
          <ac:chgData name="Jacob, Karen (SPAC/PSPC) (elle-la / she-her)" userId="66e9cce0-e37b-4645-a907-f7690bd68dfb" providerId="ADAL" clId="{871AC57A-6E3B-4D85-BA02-8D6F5065EA89}" dt="2024-06-04T20:04:42.682" v="38"/>
          <ac:spMkLst>
            <pc:docMk/>
            <pc:sldMk cId="3194185217" sldId="5000"/>
            <ac:spMk id="65" creationId="{F1D04CFE-85CE-CB35-D9A6-4088A8212AC2}"/>
          </ac:spMkLst>
        </pc:spChg>
        <pc:spChg chg="mod">
          <ac:chgData name="Jacob, Karen (SPAC/PSPC) (elle-la / she-her)" userId="66e9cce0-e37b-4645-a907-f7690bd68dfb" providerId="ADAL" clId="{871AC57A-6E3B-4D85-BA02-8D6F5065EA89}" dt="2024-06-04T20:04:42.682" v="38"/>
          <ac:spMkLst>
            <pc:docMk/>
            <pc:sldMk cId="3194185217" sldId="5000"/>
            <ac:spMk id="67" creationId="{1321C3BD-88DD-C688-5910-FBAD83F66D2C}"/>
          </ac:spMkLst>
        </pc:spChg>
        <pc:spChg chg="mod">
          <ac:chgData name="Jacob, Karen (SPAC/PSPC) (elle-la / she-her)" userId="66e9cce0-e37b-4645-a907-f7690bd68dfb" providerId="ADAL" clId="{871AC57A-6E3B-4D85-BA02-8D6F5065EA89}" dt="2024-06-04T20:04:42.682" v="38"/>
          <ac:spMkLst>
            <pc:docMk/>
            <pc:sldMk cId="3194185217" sldId="5000"/>
            <ac:spMk id="68" creationId="{AC66B73B-D041-44D2-DE28-1F67D152F3A1}"/>
          </ac:spMkLst>
        </pc:spChg>
        <pc:spChg chg="mod">
          <ac:chgData name="Jacob, Karen (SPAC/PSPC) (elle-la / she-her)" userId="66e9cce0-e37b-4645-a907-f7690bd68dfb" providerId="ADAL" clId="{871AC57A-6E3B-4D85-BA02-8D6F5065EA89}" dt="2024-06-04T20:04:42.682" v="38"/>
          <ac:spMkLst>
            <pc:docMk/>
            <pc:sldMk cId="3194185217" sldId="5000"/>
            <ac:spMk id="69" creationId="{CDB7C5CD-F4AC-8A66-5378-BF3E4CB2B2A8}"/>
          </ac:spMkLst>
        </pc:spChg>
        <pc:spChg chg="mod">
          <ac:chgData name="Jacob, Karen (SPAC/PSPC) (elle-la / she-her)" userId="66e9cce0-e37b-4645-a907-f7690bd68dfb" providerId="ADAL" clId="{871AC57A-6E3B-4D85-BA02-8D6F5065EA89}" dt="2024-06-04T20:04:42.682" v="38"/>
          <ac:spMkLst>
            <pc:docMk/>
            <pc:sldMk cId="3194185217" sldId="5000"/>
            <ac:spMk id="70" creationId="{0345FD51-2B7B-EF07-5887-2EBFDF34C717}"/>
          </ac:spMkLst>
        </pc:spChg>
        <pc:spChg chg="mod">
          <ac:chgData name="Jacob, Karen (SPAC/PSPC) (elle-la / she-her)" userId="66e9cce0-e37b-4645-a907-f7690bd68dfb" providerId="ADAL" clId="{871AC57A-6E3B-4D85-BA02-8D6F5065EA89}" dt="2024-06-04T20:04:42.682" v="38"/>
          <ac:spMkLst>
            <pc:docMk/>
            <pc:sldMk cId="3194185217" sldId="5000"/>
            <ac:spMk id="71" creationId="{C6BF1ADF-E135-B21B-74D8-9F28DBAAFD66}"/>
          </ac:spMkLst>
        </pc:spChg>
        <pc:spChg chg="mod">
          <ac:chgData name="Jacob, Karen (SPAC/PSPC) (elle-la / she-her)" userId="66e9cce0-e37b-4645-a907-f7690bd68dfb" providerId="ADAL" clId="{871AC57A-6E3B-4D85-BA02-8D6F5065EA89}" dt="2024-06-04T20:04:42.682" v="38"/>
          <ac:spMkLst>
            <pc:docMk/>
            <pc:sldMk cId="3194185217" sldId="5000"/>
            <ac:spMk id="72" creationId="{539BFB47-01E8-3E08-8FB1-2F7C72B27323}"/>
          </ac:spMkLst>
        </pc:spChg>
        <pc:spChg chg="mod">
          <ac:chgData name="Jacob, Karen (SPAC/PSPC) (elle-la / she-her)" userId="66e9cce0-e37b-4645-a907-f7690bd68dfb" providerId="ADAL" clId="{871AC57A-6E3B-4D85-BA02-8D6F5065EA89}" dt="2024-06-04T20:04:42.682" v="38"/>
          <ac:spMkLst>
            <pc:docMk/>
            <pc:sldMk cId="3194185217" sldId="5000"/>
            <ac:spMk id="73" creationId="{AC9D358B-D420-79BA-6D60-04D058CBF1FA}"/>
          </ac:spMkLst>
        </pc:spChg>
        <pc:spChg chg="mod">
          <ac:chgData name="Jacob, Karen (SPAC/PSPC) (elle-la / she-her)" userId="66e9cce0-e37b-4645-a907-f7690bd68dfb" providerId="ADAL" clId="{871AC57A-6E3B-4D85-BA02-8D6F5065EA89}" dt="2024-06-04T20:04:42.682" v="38"/>
          <ac:spMkLst>
            <pc:docMk/>
            <pc:sldMk cId="3194185217" sldId="5000"/>
            <ac:spMk id="74" creationId="{1B335456-D634-A7D1-484E-B60B8D80EDC3}"/>
          </ac:spMkLst>
        </pc:spChg>
        <pc:spChg chg="mod">
          <ac:chgData name="Jacob, Karen (SPAC/PSPC) (elle-la / she-her)" userId="66e9cce0-e37b-4645-a907-f7690bd68dfb" providerId="ADAL" clId="{871AC57A-6E3B-4D85-BA02-8D6F5065EA89}" dt="2024-06-04T20:04:42.682" v="38"/>
          <ac:spMkLst>
            <pc:docMk/>
            <pc:sldMk cId="3194185217" sldId="5000"/>
            <ac:spMk id="75" creationId="{21FEA7B0-C92C-4F85-D04E-D2A6ED4CADE4}"/>
          </ac:spMkLst>
        </pc:spChg>
        <pc:spChg chg="mod">
          <ac:chgData name="Jacob, Karen (SPAC/PSPC) (elle-la / she-her)" userId="66e9cce0-e37b-4645-a907-f7690bd68dfb" providerId="ADAL" clId="{871AC57A-6E3B-4D85-BA02-8D6F5065EA89}" dt="2024-06-04T20:04:42.682" v="38"/>
          <ac:spMkLst>
            <pc:docMk/>
            <pc:sldMk cId="3194185217" sldId="5000"/>
            <ac:spMk id="76" creationId="{ABEE8544-1D26-9200-CDF0-D1350CA08421}"/>
          </ac:spMkLst>
        </pc:spChg>
        <pc:spChg chg="mod">
          <ac:chgData name="Jacob, Karen (SPAC/PSPC) (elle-la / she-her)" userId="66e9cce0-e37b-4645-a907-f7690bd68dfb" providerId="ADAL" clId="{871AC57A-6E3B-4D85-BA02-8D6F5065EA89}" dt="2024-06-04T20:04:42.682" v="38"/>
          <ac:spMkLst>
            <pc:docMk/>
            <pc:sldMk cId="3194185217" sldId="5000"/>
            <ac:spMk id="77" creationId="{E44F8EE3-ED60-217F-00DB-6DEA5587984D}"/>
          </ac:spMkLst>
        </pc:spChg>
        <pc:spChg chg="mod">
          <ac:chgData name="Jacob, Karen (SPAC/PSPC) (elle-la / she-her)" userId="66e9cce0-e37b-4645-a907-f7690bd68dfb" providerId="ADAL" clId="{871AC57A-6E3B-4D85-BA02-8D6F5065EA89}" dt="2024-06-04T20:04:42.682" v="38"/>
          <ac:spMkLst>
            <pc:docMk/>
            <pc:sldMk cId="3194185217" sldId="5000"/>
            <ac:spMk id="78" creationId="{721FD5B1-B8E8-81F5-1A1C-B73F2499E044}"/>
          </ac:spMkLst>
        </pc:spChg>
        <pc:spChg chg="mod">
          <ac:chgData name="Jacob, Karen (SPAC/PSPC) (elle-la / she-her)" userId="66e9cce0-e37b-4645-a907-f7690bd68dfb" providerId="ADAL" clId="{871AC57A-6E3B-4D85-BA02-8D6F5065EA89}" dt="2024-06-04T20:04:42.682" v="38"/>
          <ac:spMkLst>
            <pc:docMk/>
            <pc:sldMk cId="3194185217" sldId="5000"/>
            <ac:spMk id="79" creationId="{59CB107C-EFA5-0571-874A-71E040057DA9}"/>
          </ac:spMkLst>
        </pc:spChg>
        <pc:spChg chg="mod">
          <ac:chgData name="Jacob, Karen (SPAC/PSPC) (elle-la / she-her)" userId="66e9cce0-e37b-4645-a907-f7690bd68dfb" providerId="ADAL" clId="{871AC57A-6E3B-4D85-BA02-8D6F5065EA89}" dt="2024-06-04T20:04:42.682" v="38"/>
          <ac:spMkLst>
            <pc:docMk/>
            <pc:sldMk cId="3194185217" sldId="5000"/>
            <ac:spMk id="80" creationId="{3628AC16-36E1-9F26-FCE2-3D4ACC068FED}"/>
          </ac:spMkLst>
        </pc:spChg>
        <pc:spChg chg="mod">
          <ac:chgData name="Jacob, Karen (SPAC/PSPC) (elle-la / she-her)" userId="66e9cce0-e37b-4645-a907-f7690bd68dfb" providerId="ADAL" clId="{871AC57A-6E3B-4D85-BA02-8D6F5065EA89}" dt="2024-06-04T20:04:42.682" v="38"/>
          <ac:spMkLst>
            <pc:docMk/>
            <pc:sldMk cId="3194185217" sldId="5000"/>
            <ac:spMk id="81" creationId="{55B8F6F9-30B5-38AD-5C41-FF97AE574FB1}"/>
          </ac:spMkLst>
        </pc:spChg>
        <pc:spChg chg="mod">
          <ac:chgData name="Jacob, Karen (SPAC/PSPC) (elle-la / she-her)" userId="66e9cce0-e37b-4645-a907-f7690bd68dfb" providerId="ADAL" clId="{871AC57A-6E3B-4D85-BA02-8D6F5065EA89}" dt="2024-06-04T20:04:42.682" v="38"/>
          <ac:spMkLst>
            <pc:docMk/>
            <pc:sldMk cId="3194185217" sldId="5000"/>
            <ac:spMk id="82" creationId="{04074352-6561-469C-9CA8-58B3994C0B48}"/>
          </ac:spMkLst>
        </pc:spChg>
        <pc:spChg chg="mod">
          <ac:chgData name="Jacob, Karen (SPAC/PSPC) (elle-la / she-her)" userId="66e9cce0-e37b-4645-a907-f7690bd68dfb" providerId="ADAL" clId="{871AC57A-6E3B-4D85-BA02-8D6F5065EA89}" dt="2024-06-04T20:04:42.682" v="38"/>
          <ac:spMkLst>
            <pc:docMk/>
            <pc:sldMk cId="3194185217" sldId="5000"/>
            <ac:spMk id="83" creationId="{1FF1D28E-71DB-BB24-D0F9-B7127B862037}"/>
          </ac:spMkLst>
        </pc:spChg>
        <pc:spChg chg="mod">
          <ac:chgData name="Jacob, Karen (SPAC/PSPC) (elle-la / she-her)" userId="66e9cce0-e37b-4645-a907-f7690bd68dfb" providerId="ADAL" clId="{871AC57A-6E3B-4D85-BA02-8D6F5065EA89}" dt="2024-06-04T20:04:42.682" v="38"/>
          <ac:spMkLst>
            <pc:docMk/>
            <pc:sldMk cId="3194185217" sldId="5000"/>
            <ac:spMk id="84" creationId="{4A95BE5C-9695-5A49-5F7B-42E0D306B511}"/>
          </ac:spMkLst>
        </pc:spChg>
        <pc:spChg chg="mod">
          <ac:chgData name="Jacob, Karen (SPAC/PSPC) (elle-la / she-her)" userId="66e9cce0-e37b-4645-a907-f7690bd68dfb" providerId="ADAL" clId="{871AC57A-6E3B-4D85-BA02-8D6F5065EA89}" dt="2024-06-04T20:04:42.682" v="38"/>
          <ac:spMkLst>
            <pc:docMk/>
            <pc:sldMk cId="3194185217" sldId="5000"/>
            <ac:spMk id="85" creationId="{C71A26AD-7EF2-1E88-3459-C38894A489EA}"/>
          </ac:spMkLst>
        </pc:spChg>
        <pc:spChg chg="mod">
          <ac:chgData name="Jacob, Karen (SPAC/PSPC) (elle-la / she-her)" userId="66e9cce0-e37b-4645-a907-f7690bd68dfb" providerId="ADAL" clId="{871AC57A-6E3B-4D85-BA02-8D6F5065EA89}" dt="2024-06-04T20:04:42.682" v="38"/>
          <ac:spMkLst>
            <pc:docMk/>
            <pc:sldMk cId="3194185217" sldId="5000"/>
            <ac:spMk id="86" creationId="{E2DC76E6-D970-DFF5-B90F-B7A37D44948C}"/>
          </ac:spMkLst>
        </pc:spChg>
        <pc:spChg chg="mod">
          <ac:chgData name="Jacob, Karen (SPAC/PSPC) (elle-la / she-her)" userId="66e9cce0-e37b-4645-a907-f7690bd68dfb" providerId="ADAL" clId="{871AC57A-6E3B-4D85-BA02-8D6F5065EA89}" dt="2024-06-04T20:04:42.682" v="38"/>
          <ac:spMkLst>
            <pc:docMk/>
            <pc:sldMk cId="3194185217" sldId="5000"/>
            <ac:spMk id="87" creationId="{F30F4DAF-7030-3561-F330-42BCA5B33E01}"/>
          </ac:spMkLst>
        </pc:spChg>
        <pc:spChg chg="mod">
          <ac:chgData name="Jacob, Karen (SPAC/PSPC) (elle-la / she-her)" userId="66e9cce0-e37b-4645-a907-f7690bd68dfb" providerId="ADAL" clId="{871AC57A-6E3B-4D85-BA02-8D6F5065EA89}" dt="2024-06-04T20:04:42.682" v="38"/>
          <ac:spMkLst>
            <pc:docMk/>
            <pc:sldMk cId="3194185217" sldId="5000"/>
            <ac:spMk id="88" creationId="{3C579C58-B8F2-9B89-39A4-CE396AD876FA}"/>
          </ac:spMkLst>
        </pc:spChg>
        <pc:spChg chg="mod">
          <ac:chgData name="Jacob, Karen (SPAC/PSPC) (elle-la / she-her)" userId="66e9cce0-e37b-4645-a907-f7690bd68dfb" providerId="ADAL" clId="{871AC57A-6E3B-4D85-BA02-8D6F5065EA89}" dt="2024-06-04T20:04:42.682" v="38"/>
          <ac:spMkLst>
            <pc:docMk/>
            <pc:sldMk cId="3194185217" sldId="5000"/>
            <ac:spMk id="89" creationId="{77BAA2A7-9892-D252-FEB0-4274F4B26BFB}"/>
          </ac:spMkLst>
        </pc:spChg>
        <pc:spChg chg="mod">
          <ac:chgData name="Jacob, Karen (SPAC/PSPC) (elle-la / she-her)" userId="66e9cce0-e37b-4645-a907-f7690bd68dfb" providerId="ADAL" clId="{871AC57A-6E3B-4D85-BA02-8D6F5065EA89}" dt="2024-06-04T20:04:42.682" v="38"/>
          <ac:spMkLst>
            <pc:docMk/>
            <pc:sldMk cId="3194185217" sldId="5000"/>
            <ac:spMk id="90" creationId="{20801CB3-FA6C-754B-C6C6-26EDFB7EF772}"/>
          </ac:spMkLst>
        </pc:spChg>
        <pc:spChg chg="mod">
          <ac:chgData name="Jacob, Karen (SPAC/PSPC) (elle-la / she-her)" userId="66e9cce0-e37b-4645-a907-f7690bd68dfb" providerId="ADAL" clId="{871AC57A-6E3B-4D85-BA02-8D6F5065EA89}" dt="2024-06-04T20:04:42.682" v="38"/>
          <ac:spMkLst>
            <pc:docMk/>
            <pc:sldMk cId="3194185217" sldId="5000"/>
            <ac:spMk id="91" creationId="{0200689D-EE6B-6145-A12C-BE279410E9F1}"/>
          </ac:spMkLst>
        </pc:spChg>
        <pc:spChg chg="mod">
          <ac:chgData name="Jacob, Karen (SPAC/PSPC) (elle-la / she-her)" userId="66e9cce0-e37b-4645-a907-f7690bd68dfb" providerId="ADAL" clId="{871AC57A-6E3B-4D85-BA02-8D6F5065EA89}" dt="2024-06-04T20:04:42.682" v="38"/>
          <ac:spMkLst>
            <pc:docMk/>
            <pc:sldMk cId="3194185217" sldId="5000"/>
            <ac:spMk id="92" creationId="{2B387E84-5579-4099-4E6C-397361752321}"/>
          </ac:spMkLst>
        </pc:spChg>
        <pc:spChg chg="mod">
          <ac:chgData name="Jacob, Karen (SPAC/PSPC) (elle-la / she-her)" userId="66e9cce0-e37b-4645-a907-f7690bd68dfb" providerId="ADAL" clId="{871AC57A-6E3B-4D85-BA02-8D6F5065EA89}" dt="2024-06-04T20:04:42.682" v="38"/>
          <ac:spMkLst>
            <pc:docMk/>
            <pc:sldMk cId="3194185217" sldId="5000"/>
            <ac:spMk id="93" creationId="{9A0275B6-C321-7E11-4AF0-0FFBB26A3840}"/>
          </ac:spMkLst>
        </pc:spChg>
        <pc:spChg chg="mod">
          <ac:chgData name="Jacob, Karen (SPAC/PSPC) (elle-la / she-her)" userId="66e9cce0-e37b-4645-a907-f7690bd68dfb" providerId="ADAL" clId="{871AC57A-6E3B-4D85-BA02-8D6F5065EA89}" dt="2024-06-04T20:04:42.682" v="38"/>
          <ac:spMkLst>
            <pc:docMk/>
            <pc:sldMk cId="3194185217" sldId="5000"/>
            <ac:spMk id="94" creationId="{816E36D8-4D0D-276D-9D29-0E1CF4EA29AF}"/>
          </ac:spMkLst>
        </pc:spChg>
        <pc:spChg chg="mod">
          <ac:chgData name="Jacob, Karen (SPAC/PSPC) (elle-la / she-her)" userId="66e9cce0-e37b-4645-a907-f7690bd68dfb" providerId="ADAL" clId="{871AC57A-6E3B-4D85-BA02-8D6F5065EA89}" dt="2024-06-04T20:04:42.682" v="38"/>
          <ac:spMkLst>
            <pc:docMk/>
            <pc:sldMk cId="3194185217" sldId="5000"/>
            <ac:spMk id="95" creationId="{B406834C-98FA-B5CC-19A2-C0A6B60B4A99}"/>
          </ac:spMkLst>
        </pc:spChg>
        <pc:spChg chg="mod">
          <ac:chgData name="Jacob, Karen (SPAC/PSPC) (elle-la / she-her)" userId="66e9cce0-e37b-4645-a907-f7690bd68dfb" providerId="ADAL" clId="{871AC57A-6E3B-4D85-BA02-8D6F5065EA89}" dt="2024-06-04T20:04:42.682" v="38"/>
          <ac:spMkLst>
            <pc:docMk/>
            <pc:sldMk cId="3194185217" sldId="5000"/>
            <ac:spMk id="96" creationId="{D23CECA9-93C2-90B1-7592-4A25ED3A0C27}"/>
          </ac:spMkLst>
        </pc:spChg>
        <pc:spChg chg="mod">
          <ac:chgData name="Jacob, Karen (SPAC/PSPC) (elle-la / she-her)" userId="66e9cce0-e37b-4645-a907-f7690bd68dfb" providerId="ADAL" clId="{871AC57A-6E3B-4D85-BA02-8D6F5065EA89}" dt="2024-06-04T20:04:42.682" v="38"/>
          <ac:spMkLst>
            <pc:docMk/>
            <pc:sldMk cId="3194185217" sldId="5000"/>
            <ac:spMk id="97" creationId="{D72090B6-A1EC-D213-3FC8-3B15E5F8EE7B}"/>
          </ac:spMkLst>
        </pc:spChg>
        <pc:spChg chg="mod">
          <ac:chgData name="Jacob, Karen (SPAC/PSPC) (elle-la / she-her)" userId="66e9cce0-e37b-4645-a907-f7690bd68dfb" providerId="ADAL" clId="{871AC57A-6E3B-4D85-BA02-8D6F5065EA89}" dt="2024-06-04T20:04:42.682" v="38"/>
          <ac:spMkLst>
            <pc:docMk/>
            <pc:sldMk cId="3194185217" sldId="5000"/>
            <ac:spMk id="98" creationId="{ADAB80AC-6DD5-8EE6-B759-3EA42BF3ACFD}"/>
          </ac:spMkLst>
        </pc:spChg>
        <pc:spChg chg="mod">
          <ac:chgData name="Jacob, Karen (SPAC/PSPC) (elle-la / she-her)" userId="66e9cce0-e37b-4645-a907-f7690bd68dfb" providerId="ADAL" clId="{871AC57A-6E3B-4D85-BA02-8D6F5065EA89}" dt="2024-06-04T20:04:42.682" v="38"/>
          <ac:spMkLst>
            <pc:docMk/>
            <pc:sldMk cId="3194185217" sldId="5000"/>
            <ac:spMk id="99" creationId="{389D62A2-FE11-DD73-317F-43A87E51B559}"/>
          </ac:spMkLst>
        </pc:spChg>
        <pc:spChg chg="mod">
          <ac:chgData name="Jacob, Karen (SPAC/PSPC) (elle-la / she-her)" userId="66e9cce0-e37b-4645-a907-f7690bd68dfb" providerId="ADAL" clId="{871AC57A-6E3B-4D85-BA02-8D6F5065EA89}" dt="2024-06-04T20:04:42.682" v="38"/>
          <ac:spMkLst>
            <pc:docMk/>
            <pc:sldMk cId="3194185217" sldId="5000"/>
            <ac:spMk id="100" creationId="{D91AB6BE-C04A-6C05-113A-8ADF629FDD96}"/>
          </ac:spMkLst>
        </pc:spChg>
        <pc:spChg chg="mod">
          <ac:chgData name="Jacob, Karen (SPAC/PSPC) (elle-la / she-her)" userId="66e9cce0-e37b-4645-a907-f7690bd68dfb" providerId="ADAL" clId="{871AC57A-6E3B-4D85-BA02-8D6F5065EA89}" dt="2024-06-04T20:04:42.682" v="38"/>
          <ac:spMkLst>
            <pc:docMk/>
            <pc:sldMk cId="3194185217" sldId="5000"/>
            <ac:spMk id="101" creationId="{D19B3D59-CE70-9AAF-5F4D-AD2B21591581}"/>
          </ac:spMkLst>
        </pc:spChg>
        <pc:spChg chg="mod">
          <ac:chgData name="Jacob, Karen (SPAC/PSPC) (elle-la / she-her)" userId="66e9cce0-e37b-4645-a907-f7690bd68dfb" providerId="ADAL" clId="{871AC57A-6E3B-4D85-BA02-8D6F5065EA89}" dt="2024-06-04T20:04:42.682" v="38"/>
          <ac:spMkLst>
            <pc:docMk/>
            <pc:sldMk cId="3194185217" sldId="5000"/>
            <ac:spMk id="102" creationId="{5F15206B-AF40-C0D7-43C0-FCBF2BE3D662}"/>
          </ac:spMkLst>
        </pc:spChg>
        <pc:spChg chg="mod">
          <ac:chgData name="Jacob, Karen (SPAC/PSPC) (elle-la / she-her)" userId="66e9cce0-e37b-4645-a907-f7690bd68dfb" providerId="ADAL" clId="{871AC57A-6E3B-4D85-BA02-8D6F5065EA89}" dt="2024-06-04T20:04:42.682" v="38"/>
          <ac:spMkLst>
            <pc:docMk/>
            <pc:sldMk cId="3194185217" sldId="5000"/>
            <ac:spMk id="103" creationId="{73BCBDA4-3439-52CC-0AC5-E9A1BA5136E5}"/>
          </ac:spMkLst>
        </pc:spChg>
        <pc:spChg chg="mod">
          <ac:chgData name="Jacob, Karen (SPAC/PSPC) (elle-la / she-her)" userId="66e9cce0-e37b-4645-a907-f7690bd68dfb" providerId="ADAL" clId="{871AC57A-6E3B-4D85-BA02-8D6F5065EA89}" dt="2024-06-04T20:04:42.682" v="38"/>
          <ac:spMkLst>
            <pc:docMk/>
            <pc:sldMk cId="3194185217" sldId="5000"/>
            <ac:spMk id="104" creationId="{3F9EB8F3-DA5A-AF9B-C644-37D3658500E5}"/>
          </ac:spMkLst>
        </pc:spChg>
        <pc:spChg chg="mod">
          <ac:chgData name="Jacob, Karen (SPAC/PSPC) (elle-la / she-her)" userId="66e9cce0-e37b-4645-a907-f7690bd68dfb" providerId="ADAL" clId="{871AC57A-6E3B-4D85-BA02-8D6F5065EA89}" dt="2024-06-04T20:04:42.682" v="38"/>
          <ac:spMkLst>
            <pc:docMk/>
            <pc:sldMk cId="3194185217" sldId="5000"/>
            <ac:spMk id="105" creationId="{8BF6627A-8472-6A0E-56EB-E1B3F5F10BD3}"/>
          </ac:spMkLst>
        </pc:spChg>
        <pc:spChg chg="mod">
          <ac:chgData name="Jacob, Karen (SPAC/PSPC) (elle-la / she-her)" userId="66e9cce0-e37b-4645-a907-f7690bd68dfb" providerId="ADAL" clId="{871AC57A-6E3B-4D85-BA02-8D6F5065EA89}" dt="2024-06-04T20:04:42.682" v="38"/>
          <ac:spMkLst>
            <pc:docMk/>
            <pc:sldMk cId="3194185217" sldId="5000"/>
            <ac:spMk id="106" creationId="{5DD57F77-E0AF-D320-4623-3869B46E9703}"/>
          </ac:spMkLst>
        </pc:spChg>
        <pc:spChg chg="mod">
          <ac:chgData name="Jacob, Karen (SPAC/PSPC) (elle-la / she-her)" userId="66e9cce0-e37b-4645-a907-f7690bd68dfb" providerId="ADAL" clId="{871AC57A-6E3B-4D85-BA02-8D6F5065EA89}" dt="2024-06-04T20:04:42.682" v="38"/>
          <ac:spMkLst>
            <pc:docMk/>
            <pc:sldMk cId="3194185217" sldId="5000"/>
            <ac:spMk id="107" creationId="{DDCD925C-ECC0-F97C-9306-C165B8EA96D1}"/>
          </ac:spMkLst>
        </pc:spChg>
        <pc:spChg chg="mod">
          <ac:chgData name="Jacob, Karen (SPAC/PSPC) (elle-la / she-her)" userId="66e9cce0-e37b-4645-a907-f7690bd68dfb" providerId="ADAL" clId="{871AC57A-6E3B-4D85-BA02-8D6F5065EA89}" dt="2024-06-04T20:04:42.682" v="38"/>
          <ac:spMkLst>
            <pc:docMk/>
            <pc:sldMk cId="3194185217" sldId="5000"/>
            <ac:spMk id="108" creationId="{0E77B50D-F610-6699-DC7D-37A5BDDBAE68}"/>
          </ac:spMkLst>
        </pc:spChg>
        <pc:spChg chg="mod">
          <ac:chgData name="Jacob, Karen (SPAC/PSPC) (elle-la / she-her)" userId="66e9cce0-e37b-4645-a907-f7690bd68dfb" providerId="ADAL" clId="{871AC57A-6E3B-4D85-BA02-8D6F5065EA89}" dt="2024-06-04T20:04:42.682" v="38"/>
          <ac:spMkLst>
            <pc:docMk/>
            <pc:sldMk cId="3194185217" sldId="5000"/>
            <ac:spMk id="109" creationId="{8DC427F7-B6DC-88F8-B838-FFA6C60362CF}"/>
          </ac:spMkLst>
        </pc:spChg>
        <pc:grpChg chg="add mod">
          <ac:chgData name="Jacob, Karen (SPAC/PSPC) (elle-la / she-her)" userId="66e9cce0-e37b-4645-a907-f7690bd68dfb" providerId="ADAL" clId="{871AC57A-6E3B-4D85-BA02-8D6F5065EA89}" dt="2024-06-04T20:04:49.992" v="39" actId="1076"/>
          <ac:grpSpMkLst>
            <pc:docMk/>
            <pc:sldMk cId="3194185217" sldId="5000"/>
            <ac:grpSpMk id="3" creationId="{EAFCA7DA-B3A3-40D1-F2DD-88BF94C0FDEE}"/>
          </ac:grpSpMkLst>
        </pc:grpChg>
        <pc:grpChg chg="mod">
          <ac:chgData name="Jacob, Karen (SPAC/PSPC) (elle-la / she-her)" userId="66e9cce0-e37b-4645-a907-f7690bd68dfb" providerId="ADAL" clId="{871AC57A-6E3B-4D85-BA02-8D6F5065EA89}" dt="2024-06-04T20:04:42.682" v="38"/>
          <ac:grpSpMkLst>
            <pc:docMk/>
            <pc:sldMk cId="3194185217" sldId="5000"/>
            <ac:grpSpMk id="6" creationId="{0DE56BB4-308D-A654-219C-A500E6723FB2}"/>
          </ac:grpSpMkLst>
        </pc:grpChg>
        <pc:grpChg chg="mod">
          <ac:chgData name="Jacob, Karen (SPAC/PSPC) (elle-la / she-her)" userId="66e9cce0-e37b-4645-a907-f7690bd68dfb" providerId="ADAL" clId="{871AC57A-6E3B-4D85-BA02-8D6F5065EA89}" dt="2024-06-04T20:04:42.682" v="38"/>
          <ac:grpSpMkLst>
            <pc:docMk/>
            <pc:sldMk cId="3194185217" sldId="5000"/>
            <ac:grpSpMk id="7" creationId="{3CE29C31-5266-A23D-B16D-8E36CF33D450}"/>
          </ac:grpSpMkLst>
        </pc:grpChg>
        <pc:grpChg chg="mod">
          <ac:chgData name="Jacob, Karen (SPAC/PSPC) (elle-la / she-her)" userId="66e9cce0-e37b-4645-a907-f7690bd68dfb" providerId="ADAL" clId="{871AC57A-6E3B-4D85-BA02-8D6F5065EA89}" dt="2024-06-04T20:04:42.682" v="38"/>
          <ac:grpSpMkLst>
            <pc:docMk/>
            <pc:sldMk cId="3194185217" sldId="5000"/>
            <ac:grpSpMk id="10" creationId="{3D5CB0FE-E0FC-FBD6-513D-6DFA83E357B9}"/>
          </ac:grpSpMkLst>
        </pc:grpChg>
        <pc:grpChg chg="mod">
          <ac:chgData name="Jacob, Karen (SPAC/PSPC) (elle-la / she-her)" userId="66e9cce0-e37b-4645-a907-f7690bd68dfb" providerId="ADAL" clId="{871AC57A-6E3B-4D85-BA02-8D6F5065EA89}" dt="2024-06-04T20:04:42.682" v="38"/>
          <ac:grpSpMkLst>
            <pc:docMk/>
            <pc:sldMk cId="3194185217" sldId="5000"/>
            <ac:grpSpMk id="13" creationId="{F749FBA4-6C9D-0CDF-7180-93E2D3A08598}"/>
          </ac:grpSpMkLst>
        </pc:grpChg>
        <pc:grpChg chg="mod">
          <ac:chgData name="Jacob, Karen (SPAC/PSPC) (elle-la / she-her)" userId="66e9cce0-e37b-4645-a907-f7690bd68dfb" providerId="ADAL" clId="{871AC57A-6E3B-4D85-BA02-8D6F5065EA89}" dt="2024-06-04T20:04:42.682" v="38"/>
          <ac:grpSpMkLst>
            <pc:docMk/>
            <pc:sldMk cId="3194185217" sldId="5000"/>
            <ac:grpSpMk id="16" creationId="{AF651BEA-62A1-A2B8-AAC2-489C44D92640}"/>
          </ac:grpSpMkLst>
        </pc:grpChg>
        <pc:grpChg chg="mod">
          <ac:chgData name="Jacob, Karen (SPAC/PSPC) (elle-la / she-her)" userId="66e9cce0-e37b-4645-a907-f7690bd68dfb" providerId="ADAL" clId="{871AC57A-6E3B-4D85-BA02-8D6F5065EA89}" dt="2024-06-04T20:04:42.682" v="38"/>
          <ac:grpSpMkLst>
            <pc:docMk/>
            <pc:sldMk cId="3194185217" sldId="5000"/>
            <ac:grpSpMk id="60" creationId="{82FE7FD9-8BD5-08EF-9E22-AFEFFCC4C5B5}"/>
          </ac:grpSpMkLst>
        </pc:grpChg>
        <pc:grpChg chg="mod">
          <ac:chgData name="Jacob, Karen (SPAC/PSPC) (elle-la / she-her)" userId="66e9cce0-e37b-4645-a907-f7690bd68dfb" providerId="ADAL" clId="{871AC57A-6E3B-4D85-BA02-8D6F5065EA89}" dt="2024-06-04T20:04:42.682" v="38"/>
          <ac:grpSpMkLst>
            <pc:docMk/>
            <pc:sldMk cId="3194185217" sldId="5000"/>
            <ac:grpSpMk id="63" creationId="{1F253533-8F61-A98F-A047-62E035D20E2F}"/>
          </ac:grpSpMkLst>
        </pc:grpChg>
        <pc:grpChg chg="mod">
          <ac:chgData name="Jacob, Karen (SPAC/PSPC) (elle-la / she-her)" userId="66e9cce0-e37b-4645-a907-f7690bd68dfb" providerId="ADAL" clId="{871AC57A-6E3B-4D85-BA02-8D6F5065EA89}" dt="2024-06-04T20:04:42.682" v="38"/>
          <ac:grpSpMkLst>
            <pc:docMk/>
            <pc:sldMk cId="3194185217" sldId="5000"/>
            <ac:grpSpMk id="66" creationId="{B5065F49-4327-3E58-27D6-B67BE6060D1F}"/>
          </ac:grpSpMkLst>
        </pc:grpChg>
        <pc:picChg chg="mod">
          <ac:chgData name="Jacob, Karen (SPAC/PSPC) (elle-la / she-her)" userId="66e9cce0-e37b-4645-a907-f7690bd68dfb" providerId="ADAL" clId="{871AC57A-6E3B-4D85-BA02-8D6F5065EA89}" dt="2024-06-04T20:04:42.682" v="38"/>
          <ac:picMkLst>
            <pc:docMk/>
            <pc:sldMk cId="3194185217" sldId="5000"/>
            <ac:picMk id="9" creationId="{9F8A92B7-6443-26F8-64F5-FA19B8FA9AF0}"/>
          </ac:picMkLst>
        </pc:picChg>
        <pc:picChg chg="mod">
          <ac:chgData name="Jacob, Karen (SPAC/PSPC) (elle-la / she-her)" userId="66e9cce0-e37b-4645-a907-f7690bd68dfb" providerId="ADAL" clId="{871AC57A-6E3B-4D85-BA02-8D6F5065EA89}" dt="2024-06-04T20:04:42.682" v="38"/>
          <ac:picMkLst>
            <pc:docMk/>
            <pc:sldMk cId="3194185217" sldId="5000"/>
            <ac:picMk id="11" creationId="{643117AF-11BB-4D82-F9B1-D3525CF74A00}"/>
          </ac:picMkLst>
        </pc:picChg>
        <pc:picChg chg="mod">
          <ac:chgData name="Jacob, Karen (SPAC/PSPC) (elle-la / she-her)" userId="66e9cce0-e37b-4645-a907-f7690bd68dfb" providerId="ADAL" clId="{871AC57A-6E3B-4D85-BA02-8D6F5065EA89}" dt="2024-06-04T20:04:42.682" v="38"/>
          <ac:picMkLst>
            <pc:docMk/>
            <pc:sldMk cId="3194185217" sldId="5000"/>
            <ac:picMk id="61" creationId="{32F0EB88-3179-2E20-D0A5-98588731AA8B}"/>
          </ac:picMkLst>
        </pc:picChg>
        <pc:extLst>
          <p:ext xmlns:p="http://schemas.openxmlformats.org/presentationml/2006/main" uri="{D6D511B9-2390-475A-947B-AFAB55BFBCF1}">
            <pc226:cmChg xmlns:pc226="http://schemas.microsoft.com/office/powerpoint/2022/06/main/command" chg="add mod">
              <pc226:chgData name="Jacob, Karen (SPAC/PSPC) (elle-la / she-her)" userId="66e9cce0-e37b-4645-a907-f7690bd68dfb" providerId="ADAL" clId="{871AC57A-6E3B-4D85-BA02-8D6F5065EA89}" dt="2024-06-05T17:44:18.013" v="141"/>
              <pc2:cmMkLst xmlns:pc2="http://schemas.microsoft.com/office/powerpoint/2019/9/main/command">
                <pc:docMk/>
                <pc:sldMk cId="3194185217" sldId="5000"/>
                <pc2:cmMk id="{D8AF41D7-EAFF-41AE-AAA6-A98B0A870B29}"/>
              </pc2:cmMkLst>
            </pc226:cmChg>
          </p:ext>
        </pc:extLst>
      </pc:sldChg>
      <pc:sldChg chg="addSp modSp new mod">
        <pc:chgData name="Jacob, Karen (SPAC/PSPC) (elle-la / she-her)" userId="66e9cce0-e37b-4645-a907-f7690bd68dfb" providerId="ADAL" clId="{871AC57A-6E3B-4D85-BA02-8D6F5065EA89}" dt="2024-06-05T17:37:25.404" v="102" actId="20577"/>
        <pc:sldMkLst>
          <pc:docMk/>
          <pc:sldMk cId="518497710" sldId="5001"/>
        </pc:sldMkLst>
        <pc:spChg chg="mod">
          <ac:chgData name="Jacob, Karen (SPAC/PSPC) (elle-la / she-her)" userId="66e9cce0-e37b-4645-a907-f7690bd68dfb" providerId="ADAL" clId="{871AC57A-6E3B-4D85-BA02-8D6F5065EA89}" dt="2024-06-05T17:37:25.404" v="102" actId="20577"/>
          <ac:spMkLst>
            <pc:docMk/>
            <pc:sldMk cId="518497710" sldId="5001"/>
            <ac:spMk id="2" creationId="{A08B4284-4C03-05F5-D379-8D8D6E310467}"/>
          </ac:spMkLst>
        </pc:spChg>
        <pc:spChg chg="mod">
          <ac:chgData name="Jacob, Karen (SPAC/PSPC) (elle-la / she-her)" userId="66e9cce0-e37b-4645-a907-f7690bd68dfb" providerId="ADAL" clId="{871AC57A-6E3B-4D85-BA02-8D6F5065EA89}" dt="2024-06-05T17:37:10.834" v="89"/>
          <ac:spMkLst>
            <pc:docMk/>
            <pc:sldMk cId="518497710" sldId="5001"/>
            <ac:spMk id="6" creationId="{1EBFD59E-84D8-DA47-03B4-51CCCB6899B7}"/>
          </ac:spMkLst>
        </pc:spChg>
        <pc:spChg chg="mod">
          <ac:chgData name="Jacob, Karen (SPAC/PSPC) (elle-la / she-her)" userId="66e9cce0-e37b-4645-a907-f7690bd68dfb" providerId="ADAL" clId="{871AC57A-6E3B-4D85-BA02-8D6F5065EA89}" dt="2024-06-05T17:37:10.834" v="89"/>
          <ac:spMkLst>
            <pc:docMk/>
            <pc:sldMk cId="518497710" sldId="5001"/>
            <ac:spMk id="7" creationId="{CF63B6AD-D3BF-5F19-F196-DD2AEBEFE788}"/>
          </ac:spMkLst>
        </pc:spChg>
        <pc:spChg chg="mod">
          <ac:chgData name="Jacob, Karen (SPAC/PSPC) (elle-la / she-her)" userId="66e9cce0-e37b-4645-a907-f7690bd68dfb" providerId="ADAL" clId="{871AC57A-6E3B-4D85-BA02-8D6F5065EA89}" dt="2024-06-05T17:37:10.834" v="89"/>
          <ac:spMkLst>
            <pc:docMk/>
            <pc:sldMk cId="518497710" sldId="5001"/>
            <ac:spMk id="10" creationId="{457CC8A1-BCD8-7A86-B793-B14808DD7564}"/>
          </ac:spMkLst>
        </pc:spChg>
        <pc:spChg chg="mod">
          <ac:chgData name="Jacob, Karen (SPAC/PSPC) (elle-la / she-her)" userId="66e9cce0-e37b-4645-a907-f7690bd68dfb" providerId="ADAL" clId="{871AC57A-6E3B-4D85-BA02-8D6F5065EA89}" dt="2024-06-05T17:37:10.834" v="89"/>
          <ac:spMkLst>
            <pc:docMk/>
            <pc:sldMk cId="518497710" sldId="5001"/>
            <ac:spMk id="11" creationId="{56731887-2EBE-E547-4EBB-5B5933DDE1A8}"/>
          </ac:spMkLst>
        </pc:spChg>
        <pc:spChg chg="mod">
          <ac:chgData name="Jacob, Karen (SPAC/PSPC) (elle-la / she-her)" userId="66e9cce0-e37b-4645-a907-f7690bd68dfb" providerId="ADAL" clId="{871AC57A-6E3B-4D85-BA02-8D6F5065EA89}" dt="2024-06-05T17:37:10.834" v="89"/>
          <ac:spMkLst>
            <pc:docMk/>
            <pc:sldMk cId="518497710" sldId="5001"/>
            <ac:spMk id="20" creationId="{1320EC92-EEAC-DB95-E6E9-7763D5319CE4}"/>
          </ac:spMkLst>
        </pc:spChg>
        <pc:spChg chg="mod">
          <ac:chgData name="Jacob, Karen (SPAC/PSPC) (elle-la / she-her)" userId="66e9cce0-e37b-4645-a907-f7690bd68dfb" providerId="ADAL" clId="{871AC57A-6E3B-4D85-BA02-8D6F5065EA89}" dt="2024-06-05T17:37:10.834" v="89"/>
          <ac:spMkLst>
            <pc:docMk/>
            <pc:sldMk cId="518497710" sldId="5001"/>
            <ac:spMk id="23" creationId="{048D18F6-589B-C970-7ADB-93C7EEDD478A}"/>
          </ac:spMkLst>
        </pc:spChg>
        <pc:spChg chg="mod">
          <ac:chgData name="Jacob, Karen (SPAC/PSPC) (elle-la / she-her)" userId="66e9cce0-e37b-4645-a907-f7690bd68dfb" providerId="ADAL" clId="{871AC57A-6E3B-4D85-BA02-8D6F5065EA89}" dt="2024-06-05T17:37:10.834" v="89"/>
          <ac:spMkLst>
            <pc:docMk/>
            <pc:sldMk cId="518497710" sldId="5001"/>
            <ac:spMk id="26" creationId="{D8E6845A-468F-6E8C-CA13-3A84AB2C2FC2}"/>
          </ac:spMkLst>
        </pc:spChg>
        <pc:spChg chg="mod">
          <ac:chgData name="Jacob, Karen (SPAC/PSPC) (elle-la / she-her)" userId="66e9cce0-e37b-4645-a907-f7690bd68dfb" providerId="ADAL" clId="{871AC57A-6E3B-4D85-BA02-8D6F5065EA89}" dt="2024-06-05T17:37:10.834" v="89"/>
          <ac:spMkLst>
            <pc:docMk/>
            <pc:sldMk cId="518497710" sldId="5001"/>
            <ac:spMk id="27" creationId="{7B28D700-3A0B-C02A-3B7F-562CA82AE148}"/>
          </ac:spMkLst>
        </pc:spChg>
        <pc:spChg chg="mod">
          <ac:chgData name="Jacob, Karen (SPAC/PSPC) (elle-la / she-her)" userId="66e9cce0-e37b-4645-a907-f7690bd68dfb" providerId="ADAL" clId="{871AC57A-6E3B-4D85-BA02-8D6F5065EA89}" dt="2024-06-05T17:37:10.834" v="89"/>
          <ac:spMkLst>
            <pc:docMk/>
            <pc:sldMk cId="518497710" sldId="5001"/>
            <ac:spMk id="28" creationId="{A13B2825-4E33-9469-8E79-3A696E1FC532}"/>
          </ac:spMkLst>
        </pc:spChg>
        <pc:spChg chg="mod">
          <ac:chgData name="Jacob, Karen (SPAC/PSPC) (elle-la / she-her)" userId="66e9cce0-e37b-4645-a907-f7690bd68dfb" providerId="ADAL" clId="{871AC57A-6E3B-4D85-BA02-8D6F5065EA89}" dt="2024-06-05T17:37:10.834" v="89"/>
          <ac:spMkLst>
            <pc:docMk/>
            <pc:sldMk cId="518497710" sldId="5001"/>
            <ac:spMk id="32" creationId="{73CA3B37-C493-D4DC-C990-3D0CEACCF5CE}"/>
          </ac:spMkLst>
        </pc:spChg>
        <pc:spChg chg="mod">
          <ac:chgData name="Jacob, Karen (SPAC/PSPC) (elle-la / she-her)" userId="66e9cce0-e37b-4645-a907-f7690bd68dfb" providerId="ADAL" clId="{871AC57A-6E3B-4D85-BA02-8D6F5065EA89}" dt="2024-06-05T17:37:10.834" v="89"/>
          <ac:spMkLst>
            <pc:docMk/>
            <pc:sldMk cId="518497710" sldId="5001"/>
            <ac:spMk id="34" creationId="{6E97C84B-A870-D382-844F-10908278D3D2}"/>
          </ac:spMkLst>
        </pc:spChg>
        <pc:spChg chg="mod">
          <ac:chgData name="Jacob, Karen (SPAC/PSPC) (elle-la / she-her)" userId="66e9cce0-e37b-4645-a907-f7690bd68dfb" providerId="ADAL" clId="{871AC57A-6E3B-4D85-BA02-8D6F5065EA89}" dt="2024-06-05T17:37:10.834" v="89"/>
          <ac:spMkLst>
            <pc:docMk/>
            <pc:sldMk cId="518497710" sldId="5001"/>
            <ac:spMk id="37" creationId="{3E01CE16-DD57-54D0-D5C2-5477E6E326C9}"/>
          </ac:spMkLst>
        </pc:spChg>
        <pc:spChg chg="mod">
          <ac:chgData name="Jacob, Karen (SPAC/PSPC) (elle-la / she-her)" userId="66e9cce0-e37b-4645-a907-f7690bd68dfb" providerId="ADAL" clId="{871AC57A-6E3B-4D85-BA02-8D6F5065EA89}" dt="2024-06-05T17:37:10.834" v="89"/>
          <ac:spMkLst>
            <pc:docMk/>
            <pc:sldMk cId="518497710" sldId="5001"/>
            <ac:spMk id="38" creationId="{B49642AC-7882-5944-543A-BBBF2BB08728}"/>
          </ac:spMkLst>
        </pc:spChg>
        <pc:spChg chg="mod">
          <ac:chgData name="Jacob, Karen (SPAC/PSPC) (elle-la / she-her)" userId="66e9cce0-e37b-4645-a907-f7690bd68dfb" providerId="ADAL" clId="{871AC57A-6E3B-4D85-BA02-8D6F5065EA89}" dt="2024-06-05T17:37:10.834" v="89"/>
          <ac:spMkLst>
            <pc:docMk/>
            <pc:sldMk cId="518497710" sldId="5001"/>
            <ac:spMk id="39" creationId="{7DB85A7B-7D3B-1CD1-8FFD-619C75D813CC}"/>
          </ac:spMkLst>
        </pc:spChg>
        <pc:spChg chg="mod">
          <ac:chgData name="Jacob, Karen (SPAC/PSPC) (elle-la / she-her)" userId="66e9cce0-e37b-4645-a907-f7690bd68dfb" providerId="ADAL" clId="{871AC57A-6E3B-4D85-BA02-8D6F5065EA89}" dt="2024-06-05T17:37:10.834" v="89"/>
          <ac:spMkLst>
            <pc:docMk/>
            <pc:sldMk cId="518497710" sldId="5001"/>
            <ac:spMk id="40" creationId="{83C25A54-2AA7-3E16-0F85-6BFDE0EF284D}"/>
          </ac:spMkLst>
        </pc:spChg>
        <pc:spChg chg="mod">
          <ac:chgData name="Jacob, Karen (SPAC/PSPC) (elle-la / she-her)" userId="66e9cce0-e37b-4645-a907-f7690bd68dfb" providerId="ADAL" clId="{871AC57A-6E3B-4D85-BA02-8D6F5065EA89}" dt="2024-06-05T17:37:10.834" v="89"/>
          <ac:spMkLst>
            <pc:docMk/>
            <pc:sldMk cId="518497710" sldId="5001"/>
            <ac:spMk id="41" creationId="{3F3A0FF6-20D4-BA82-2A57-6840D1CDC073}"/>
          </ac:spMkLst>
        </pc:spChg>
        <pc:spChg chg="mod">
          <ac:chgData name="Jacob, Karen (SPAC/PSPC) (elle-la / she-her)" userId="66e9cce0-e37b-4645-a907-f7690bd68dfb" providerId="ADAL" clId="{871AC57A-6E3B-4D85-BA02-8D6F5065EA89}" dt="2024-06-05T17:37:10.834" v="89"/>
          <ac:spMkLst>
            <pc:docMk/>
            <pc:sldMk cId="518497710" sldId="5001"/>
            <ac:spMk id="42" creationId="{6BD7DDAD-5332-1C69-3B76-707D89C053EC}"/>
          </ac:spMkLst>
        </pc:spChg>
        <pc:spChg chg="mod">
          <ac:chgData name="Jacob, Karen (SPAC/PSPC) (elle-la / she-her)" userId="66e9cce0-e37b-4645-a907-f7690bd68dfb" providerId="ADAL" clId="{871AC57A-6E3B-4D85-BA02-8D6F5065EA89}" dt="2024-06-05T17:37:10.834" v="89"/>
          <ac:spMkLst>
            <pc:docMk/>
            <pc:sldMk cId="518497710" sldId="5001"/>
            <ac:spMk id="43" creationId="{9B2D08C8-7EB8-84F1-FC11-2A862F0C55E2}"/>
          </ac:spMkLst>
        </pc:spChg>
        <pc:spChg chg="mod">
          <ac:chgData name="Jacob, Karen (SPAC/PSPC) (elle-la / she-her)" userId="66e9cce0-e37b-4645-a907-f7690bd68dfb" providerId="ADAL" clId="{871AC57A-6E3B-4D85-BA02-8D6F5065EA89}" dt="2024-06-05T17:37:10.834" v="89"/>
          <ac:spMkLst>
            <pc:docMk/>
            <pc:sldMk cId="518497710" sldId="5001"/>
            <ac:spMk id="46" creationId="{5B6C7E67-1284-AB7F-933C-A3977E14505D}"/>
          </ac:spMkLst>
        </pc:spChg>
        <pc:spChg chg="mod">
          <ac:chgData name="Jacob, Karen (SPAC/PSPC) (elle-la / she-her)" userId="66e9cce0-e37b-4645-a907-f7690bd68dfb" providerId="ADAL" clId="{871AC57A-6E3B-4D85-BA02-8D6F5065EA89}" dt="2024-06-05T17:37:10.834" v="89"/>
          <ac:spMkLst>
            <pc:docMk/>
            <pc:sldMk cId="518497710" sldId="5001"/>
            <ac:spMk id="47" creationId="{413A0251-9E2C-6D19-7CD8-C14960D99BAC}"/>
          </ac:spMkLst>
        </pc:spChg>
        <pc:spChg chg="mod">
          <ac:chgData name="Jacob, Karen (SPAC/PSPC) (elle-la / she-her)" userId="66e9cce0-e37b-4645-a907-f7690bd68dfb" providerId="ADAL" clId="{871AC57A-6E3B-4D85-BA02-8D6F5065EA89}" dt="2024-06-05T17:37:10.834" v="89"/>
          <ac:spMkLst>
            <pc:docMk/>
            <pc:sldMk cId="518497710" sldId="5001"/>
            <ac:spMk id="48" creationId="{844E08BC-76D2-E8B3-5127-4E2A501BE785}"/>
          </ac:spMkLst>
        </pc:spChg>
        <pc:grpChg chg="add mod">
          <ac:chgData name="Jacob, Karen (SPAC/PSPC) (elle-la / she-her)" userId="66e9cce0-e37b-4645-a907-f7690bd68dfb" providerId="ADAL" clId="{871AC57A-6E3B-4D85-BA02-8D6F5065EA89}" dt="2024-06-05T17:37:14.009" v="90" actId="1076"/>
          <ac:grpSpMkLst>
            <pc:docMk/>
            <pc:sldMk cId="518497710" sldId="5001"/>
            <ac:grpSpMk id="3" creationId="{625C7B17-67B0-B769-0CCA-517263916851}"/>
          </ac:grpSpMkLst>
        </pc:grpChg>
        <pc:grpChg chg="mod">
          <ac:chgData name="Jacob, Karen (SPAC/PSPC) (elle-la / she-her)" userId="66e9cce0-e37b-4645-a907-f7690bd68dfb" providerId="ADAL" clId="{871AC57A-6E3B-4D85-BA02-8D6F5065EA89}" dt="2024-06-05T17:37:10.834" v="89"/>
          <ac:grpSpMkLst>
            <pc:docMk/>
            <pc:sldMk cId="518497710" sldId="5001"/>
            <ac:grpSpMk id="4" creationId="{B0C2251F-D48F-28F2-3B94-FA446FFF33C3}"/>
          </ac:grpSpMkLst>
        </pc:grpChg>
        <pc:grpChg chg="mod">
          <ac:chgData name="Jacob, Karen (SPAC/PSPC) (elle-la / she-her)" userId="66e9cce0-e37b-4645-a907-f7690bd68dfb" providerId="ADAL" clId="{871AC57A-6E3B-4D85-BA02-8D6F5065EA89}" dt="2024-06-05T17:37:10.834" v="89"/>
          <ac:grpSpMkLst>
            <pc:docMk/>
            <pc:sldMk cId="518497710" sldId="5001"/>
            <ac:grpSpMk id="5" creationId="{C92F5D3B-DBF4-64BB-F6B5-C78A080280CC}"/>
          </ac:grpSpMkLst>
        </pc:grpChg>
        <pc:grpChg chg="mod">
          <ac:chgData name="Jacob, Karen (SPAC/PSPC) (elle-la / she-her)" userId="66e9cce0-e37b-4645-a907-f7690bd68dfb" providerId="ADAL" clId="{871AC57A-6E3B-4D85-BA02-8D6F5065EA89}" dt="2024-06-05T17:37:10.834" v="89"/>
          <ac:grpSpMkLst>
            <pc:docMk/>
            <pc:sldMk cId="518497710" sldId="5001"/>
            <ac:grpSpMk id="8" creationId="{62A2C0C6-453A-45C9-7503-FA6BCBA32454}"/>
          </ac:grpSpMkLst>
        </pc:grpChg>
        <pc:grpChg chg="mod">
          <ac:chgData name="Jacob, Karen (SPAC/PSPC) (elle-la / she-her)" userId="66e9cce0-e37b-4645-a907-f7690bd68dfb" providerId="ADAL" clId="{871AC57A-6E3B-4D85-BA02-8D6F5065EA89}" dt="2024-06-05T17:37:10.834" v="89"/>
          <ac:grpSpMkLst>
            <pc:docMk/>
            <pc:sldMk cId="518497710" sldId="5001"/>
            <ac:grpSpMk id="9" creationId="{17D615BB-9901-A0AB-B1EE-65A9B81DEA53}"/>
          </ac:grpSpMkLst>
        </pc:grpChg>
        <pc:grpChg chg="mod">
          <ac:chgData name="Jacob, Karen (SPAC/PSPC) (elle-la / she-her)" userId="66e9cce0-e37b-4645-a907-f7690bd68dfb" providerId="ADAL" clId="{871AC57A-6E3B-4D85-BA02-8D6F5065EA89}" dt="2024-06-05T17:37:10.834" v="89"/>
          <ac:grpSpMkLst>
            <pc:docMk/>
            <pc:sldMk cId="518497710" sldId="5001"/>
            <ac:grpSpMk id="12" creationId="{A2AF9731-B461-7E98-7A68-9289BF9965B2}"/>
          </ac:grpSpMkLst>
        </pc:grpChg>
        <pc:grpChg chg="mod">
          <ac:chgData name="Jacob, Karen (SPAC/PSPC) (elle-la / she-her)" userId="66e9cce0-e37b-4645-a907-f7690bd68dfb" providerId="ADAL" clId="{871AC57A-6E3B-4D85-BA02-8D6F5065EA89}" dt="2024-06-05T17:37:10.834" v="89"/>
          <ac:grpSpMkLst>
            <pc:docMk/>
            <pc:sldMk cId="518497710" sldId="5001"/>
            <ac:grpSpMk id="13" creationId="{9F38E8B2-2E1F-AAE4-990B-50A5D8493565}"/>
          </ac:grpSpMkLst>
        </pc:grpChg>
        <pc:grpChg chg="mod">
          <ac:chgData name="Jacob, Karen (SPAC/PSPC) (elle-la / she-her)" userId="66e9cce0-e37b-4645-a907-f7690bd68dfb" providerId="ADAL" clId="{871AC57A-6E3B-4D85-BA02-8D6F5065EA89}" dt="2024-06-05T17:37:10.834" v="89"/>
          <ac:grpSpMkLst>
            <pc:docMk/>
            <pc:sldMk cId="518497710" sldId="5001"/>
            <ac:grpSpMk id="22" creationId="{F4470CBE-D7C2-6E14-9E56-6529C36CD845}"/>
          </ac:grpSpMkLst>
        </pc:grpChg>
        <pc:grpChg chg="mod">
          <ac:chgData name="Jacob, Karen (SPAC/PSPC) (elle-la / she-her)" userId="66e9cce0-e37b-4645-a907-f7690bd68dfb" providerId="ADAL" clId="{871AC57A-6E3B-4D85-BA02-8D6F5065EA89}" dt="2024-06-05T17:37:10.834" v="89"/>
          <ac:grpSpMkLst>
            <pc:docMk/>
            <pc:sldMk cId="518497710" sldId="5001"/>
            <ac:grpSpMk id="24" creationId="{F68B19A1-69FE-ED36-6B08-E37808532037}"/>
          </ac:grpSpMkLst>
        </pc:grpChg>
        <pc:grpChg chg="mod">
          <ac:chgData name="Jacob, Karen (SPAC/PSPC) (elle-la / she-her)" userId="66e9cce0-e37b-4645-a907-f7690bd68dfb" providerId="ADAL" clId="{871AC57A-6E3B-4D85-BA02-8D6F5065EA89}" dt="2024-06-05T17:37:10.834" v="89"/>
          <ac:grpSpMkLst>
            <pc:docMk/>
            <pc:sldMk cId="518497710" sldId="5001"/>
            <ac:grpSpMk id="25" creationId="{A74AB0C1-5E20-E00F-93B0-93DBC75BAD4F}"/>
          </ac:grpSpMkLst>
        </pc:grpChg>
        <pc:grpChg chg="mod">
          <ac:chgData name="Jacob, Karen (SPAC/PSPC) (elle-la / she-her)" userId="66e9cce0-e37b-4645-a907-f7690bd68dfb" providerId="ADAL" clId="{871AC57A-6E3B-4D85-BA02-8D6F5065EA89}" dt="2024-06-05T17:37:10.834" v="89"/>
          <ac:grpSpMkLst>
            <pc:docMk/>
            <pc:sldMk cId="518497710" sldId="5001"/>
            <ac:grpSpMk id="33" creationId="{0C7D2F65-26C1-B36D-5FD5-B0F28DEAA4DC}"/>
          </ac:grpSpMkLst>
        </pc:grpChg>
        <pc:grpChg chg="mod">
          <ac:chgData name="Jacob, Karen (SPAC/PSPC) (elle-la / she-her)" userId="66e9cce0-e37b-4645-a907-f7690bd68dfb" providerId="ADAL" clId="{871AC57A-6E3B-4D85-BA02-8D6F5065EA89}" dt="2024-06-05T17:37:10.834" v="89"/>
          <ac:grpSpMkLst>
            <pc:docMk/>
            <pc:sldMk cId="518497710" sldId="5001"/>
            <ac:grpSpMk id="35" creationId="{360DAC56-FCA8-C469-4163-9913B8D938A8}"/>
          </ac:grpSpMkLst>
        </pc:grpChg>
        <pc:picChg chg="mod">
          <ac:chgData name="Jacob, Karen (SPAC/PSPC) (elle-la / she-her)" userId="66e9cce0-e37b-4645-a907-f7690bd68dfb" providerId="ADAL" clId="{871AC57A-6E3B-4D85-BA02-8D6F5065EA89}" dt="2024-06-05T17:37:10.834" v="89"/>
          <ac:picMkLst>
            <pc:docMk/>
            <pc:sldMk cId="518497710" sldId="5001"/>
            <ac:picMk id="29" creationId="{B776609E-6A82-D11B-DA04-4EC1F2FA543C}"/>
          </ac:picMkLst>
        </pc:picChg>
        <pc:picChg chg="mod">
          <ac:chgData name="Jacob, Karen (SPAC/PSPC) (elle-la / she-her)" userId="66e9cce0-e37b-4645-a907-f7690bd68dfb" providerId="ADAL" clId="{871AC57A-6E3B-4D85-BA02-8D6F5065EA89}" dt="2024-06-05T17:37:10.834" v="89"/>
          <ac:picMkLst>
            <pc:docMk/>
            <pc:sldMk cId="518497710" sldId="5001"/>
            <ac:picMk id="30" creationId="{C195F44A-B343-F691-5430-7F040600CBBD}"/>
          </ac:picMkLst>
        </pc:picChg>
        <pc:picChg chg="mod">
          <ac:chgData name="Jacob, Karen (SPAC/PSPC) (elle-la / she-her)" userId="66e9cce0-e37b-4645-a907-f7690bd68dfb" providerId="ADAL" clId="{871AC57A-6E3B-4D85-BA02-8D6F5065EA89}" dt="2024-06-05T17:37:10.834" v="89"/>
          <ac:picMkLst>
            <pc:docMk/>
            <pc:sldMk cId="518497710" sldId="5001"/>
            <ac:picMk id="31" creationId="{B815B1E4-614A-DBDC-3889-587C7C7C1383}"/>
          </ac:picMkLst>
        </pc:picChg>
        <pc:cxnChg chg="mod">
          <ac:chgData name="Jacob, Karen (SPAC/PSPC) (elle-la / she-her)" userId="66e9cce0-e37b-4645-a907-f7690bd68dfb" providerId="ADAL" clId="{871AC57A-6E3B-4D85-BA02-8D6F5065EA89}" dt="2024-06-05T17:37:10.834" v="89"/>
          <ac:cxnSpMkLst>
            <pc:docMk/>
            <pc:sldMk cId="518497710" sldId="5001"/>
            <ac:cxnSpMk id="14" creationId="{69105A0F-730E-96A7-A4F5-6FA08C478B07}"/>
          </ac:cxnSpMkLst>
        </pc:cxnChg>
        <pc:cxnChg chg="mod">
          <ac:chgData name="Jacob, Karen (SPAC/PSPC) (elle-la / she-her)" userId="66e9cce0-e37b-4645-a907-f7690bd68dfb" providerId="ADAL" clId="{871AC57A-6E3B-4D85-BA02-8D6F5065EA89}" dt="2024-06-05T17:37:10.834" v="89"/>
          <ac:cxnSpMkLst>
            <pc:docMk/>
            <pc:sldMk cId="518497710" sldId="5001"/>
            <ac:cxnSpMk id="15" creationId="{5A2D7C2E-BC66-EFF3-F415-E50089134E03}"/>
          </ac:cxnSpMkLst>
        </pc:cxnChg>
        <pc:cxnChg chg="mod">
          <ac:chgData name="Jacob, Karen (SPAC/PSPC) (elle-la / she-her)" userId="66e9cce0-e37b-4645-a907-f7690bd68dfb" providerId="ADAL" clId="{871AC57A-6E3B-4D85-BA02-8D6F5065EA89}" dt="2024-06-05T17:37:10.834" v="89"/>
          <ac:cxnSpMkLst>
            <pc:docMk/>
            <pc:sldMk cId="518497710" sldId="5001"/>
            <ac:cxnSpMk id="16" creationId="{C95E4317-5CEB-FFF5-B35B-84277AA12261}"/>
          </ac:cxnSpMkLst>
        </pc:cxnChg>
        <pc:cxnChg chg="mod">
          <ac:chgData name="Jacob, Karen (SPAC/PSPC) (elle-la / she-her)" userId="66e9cce0-e37b-4645-a907-f7690bd68dfb" providerId="ADAL" clId="{871AC57A-6E3B-4D85-BA02-8D6F5065EA89}" dt="2024-06-05T17:37:10.834" v="89"/>
          <ac:cxnSpMkLst>
            <pc:docMk/>
            <pc:sldMk cId="518497710" sldId="5001"/>
            <ac:cxnSpMk id="17" creationId="{9A8DD48F-C908-C182-375D-FF23DC3654EC}"/>
          </ac:cxnSpMkLst>
        </pc:cxnChg>
        <pc:cxnChg chg="mod">
          <ac:chgData name="Jacob, Karen (SPAC/PSPC) (elle-la / she-her)" userId="66e9cce0-e37b-4645-a907-f7690bd68dfb" providerId="ADAL" clId="{871AC57A-6E3B-4D85-BA02-8D6F5065EA89}" dt="2024-06-05T17:37:10.834" v="89"/>
          <ac:cxnSpMkLst>
            <pc:docMk/>
            <pc:sldMk cId="518497710" sldId="5001"/>
            <ac:cxnSpMk id="18" creationId="{A99A346D-AA7D-FB2C-AADE-B156EEBF8EFF}"/>
          </ac:cxnSpMkLst>
        </pc:cxnChg>
        <pc:cxnChg chg="mod">
          <ac:chgData name="Jacob, Karen (SPAC/PSPC) (elle-la / she-her)" userId="66e9cce0-e37b-4645-a907-f7690bd68dfb" providerId="ADAL" clId="{871AC57A-6E3B-4D85-BA02-8D6F5065EA89}" dt="2024-06-05T17:37:10.834" v="89"/>
          <ac:cxnSpMkLst>
            <pc:docMk/>
            <pc:sldMk cId="518497710" sldId="5001"/>
            <ac:cxnSpMk id="19" creationId="{531D50E9-30AC-3622-9610-18889769AACF}"/>
          </ac:cxnSpMkLst>
        </pc:cxnChg>
        <pc:cxnChg chg="mod">
          <ac:chgData name="Jacob, Karen (SPAC/PSPC) (elle-la / she-her)" userId="66e9cce0-e37b-4645-a907-f7690bd68dfb" providerId="ADAL" clId="{871AC57A-6E3B-4D85-BA02-8D6F5065EA89}" dt="2024-06-05T17:37:10.834" v="89"/>
          <ac:cxnSpMkLst>
            <pc:docMk/>
            <pc:sldMk cId="518497710" sldId="5001"/>
            <ac:cxnSpMk id="21" creationId="{87D93834-D8E7-BCB1-BDDE-82FD7D374A39}"/>
          </ac:cxnSpMkLst>
        </pc:cxnChg>
        <pc:cxnChg chg="mod">
          <ac:chgData name="Jacob, Karen (SPAC/PSPC) (elle-la / she-her)" userId="66e9cce0-e37b-4645-a907-f7690bd68dfb" providerId="ADAL" clId="{871AC57A-6E3B-4D85-BA02-8D6F5065EA89}" dt="2024-06-05T17:37:10.834" v="89"/>
          <ac:cxnSpMkLst>
            <pc:docMk/>
            <pc:sldMk cId="518497710" sldId="5001"/>
            <ac:cxnSpMk id="36" creationId="{25D8C9A2-6F3E-E569-58B1-BD176D674A0E}"/>
          </ac:cxnSpMkLst>
        </pc:cxnChg>
        <pc:cxnChg chg="mod">
          <ac:chgData name="Jacob, Karen (SPAC/PSPC) (elle-la / she-her)" userId="66e9cce0-e37b-4645-a907-f7690bd68dfb" providerId="ADAL" clId="{871AC57A-6E3B-4D85-BA02-8D6F5065EA89}" dt="2024-06-05T17:37:10.834" v="89"/>
          <ac:cxnSpMkLst>
            <pc:docMk/>
            <pc:sldMk cId="518497710" sldId="5001"/>
            <ac:cxnSpMk id="44" creationId="{814FC7B9-6A10-B331-5F2F-C7DF82F83231}"/>
          </ac:cxnSpMkLst>
        </pc:cxnChg>
        <pc:cxnChg chg="mod">
          <ac:chgData name="Jacob, Karen (SPAC/PSPC) (elle-la / she-her)" userId="66e9cce0-e37b-4645-a907-f7690bd68dfb" providerId="ADAL" clId="{871AC57A-6E3B-4D85-BA02-8D6F5065EA89}" dt="2024-06-05T17:37:10.834" v="89"/>
          <ac:cxnSpMkLst>
            <pc:docMk/>
            <pc:sldMk cId="518497710" sldId="5001"/>
            <ac:cxnSpMk id="45" creationId="{D9CEAE31-86AF-4CE6-94E7-8299D8409C01}"/>
          </ac:cxnSpMkLst>
        </pc:cxnChg>
      </pc:sldChg>
      <pc:sldChg chg="ord">
        <pc:chgData name="Jacob, Karen (SPAC/PSPC) (elle-la / she-her)" userId="66e9cce0-e37b-4645-a907-f7690bd68dfb" providerId="ADAL" clId="{871AC57A-6E3B-4D85-BA02-8D6F5065EA89}" dt="2024-06-21T13:02:46.235" v="521"/>
        <pc:sldMkLst>
          <pc:docMk/>
          <pc:sldMk cId="1651678227" sldId="5001"/>
        </pc:sldMkLst>
      </pc:sldChg>
      <pc:sldChg chg="addSp delSp modSp new mod addCm">
        <pc:chgData name="Jacob, Karen (SPAC/PSPC) (elle-la / she-her)" userId="66e9cce0-e37b-4645-a907-f7690bd68dfb" providerId="ADAL" clId="{871AC57A-6E3B-4D85-BA02-8D6F5065EA89}" dt="2024-06-05T17:41:09.260" v="136"/>
        <pc:sldMkLst>
          <pc:docMk/>
          <pc:sldMk cId="677863844" sldId="5002"/>
        </pc:sldMkLst>
        <pc:spChg chg="del">
          <ac:chgData name="Jacob, Karen (SPAC/PSPC) (elle-la / she-her)" userId="66e9cce0-e37b-4645-a907-f7690bd68dfb" providerId="ADAL" clId="{871AC57A-6E3B-4D85-BA02-8D6F5065EA89}" dt="2024-06-05T17:38:08.376" v="104" actId="478"/>
          <ac:spMkLst>
            <pc:docMk/>
            <pc:sldMk cId="677863844" sldId="5002"/>
            <ac:spMk id="2" creationId="{16C09C89-2122-9E23-9128-8FC896A9BD72}"/>
          </ac:spMkLst>
        </pc:spChg>
        <pc:spChg chg="del">
          <ac:chgData name="Jacob, Karen (SPAC/PSPC) (elle-la / she-her)" userId="66e9cce0-e37b-4645-a907-f7690bd68dfb" providerId="ADAL" clId="{871AC57A-6E3B-4D85-BA02-8D6F5065EA89}" dt="2024-06-05T17:38:12.894" v="106" actId="478"/>
          <ac:spMkLst>
            <pc:docMk/>
            <pc:sldMk cId="677863844" sldId="5002"/>
            <ac:spMk id="3" creationId="{469B68B8-C8D6-6B1A-D48D-B7A7E5003311}"/>
          </ac:spMkLst>
        </pc:spChg>
        <pc:spChg chg="del">
          <ac:chgData name="Jacob, Karen (SPAC/PSPC) (elle-la / she-her)" userId="66e9cce0-e37b-4645-a907-f7690bd68dfb" providerId="ADAL" clId="{871AC57A-6E3B-4D85-BA02-8D6F5065EA89}" dt="2024-06-05T17:38:12.008" v="105" actId="478"/>
          <ac:spMkLst>
            <pc:docMk/>
            <pc:sldMk cId="677863844" sldId="5002"/>
            <ac:spMk id="4" creationId="{36FC58AF-1C5D-6F45-5EE9-28FDE8B64734}"/>
          </ac:spMkLst>
        </pc:spChg>
        <pc:spChg chg="mod">
          <ac:chgData name="Jacob, Karen (SPAC/PSPC) (elle-la / she-her)" userId="66e9cce0-e37b-4645-a907-f7690bd68dfb" providerId="ADAL" clId="{871AC57A-6E3B-4D85-BA02-8D6F5065EA89}" dt="2024-06-05T17:40:01.290" v="135" actId="20577"/>
          <ac:spMkLst>
            <pc:docMk/>
            <pc:sldMk cId="677863844" sldId="5002"/>
            <ac:spMk id="5" creationId="{5DE794F1-4D2B-1269-AFFC-8A6D53C7C572}"/>
          </ac:spMkLst>
        </pc:spChg>
        <pc:picChg chg="add mod">
          <ac:chgData name="Jacob, Karen (SPAC/PSPC) (elle-la / she-her)" userId="66e9cce0-e37b-4645-a907-f7690bd68dfb" providerId="ADAL" clId="{871AC57A-6E3B-4D85-BA02-8D6F5065EA89}" dt="2024-06-05T17:39:46.155" v="108" actId="1076"/>
          <ac:picMkLst>
            <pc:docMk/>
            <pc:sldMk cId="677863844" sldId="5002"/>
            <ac:picMk id="1026" creationId="{19666AA4-4EFD-83FC-490F-64FAEBCD85BC}"/>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1:09.260" v="136"/>
              <pc2:cmMkLst xmlns:pc2="http://schemas.microsoft.com/office/powerpoint/2019/9/main/command">
                <pc:docMk/>
                <pc:sldMk cId="677863844" sldId="5002"/>
                <pc2:cmMk id="{BA0189FD-BE2F-4246-ABEF-D6201C16CD1F}"/>
              </pc2:cmMkLst>
            </pc226:cmChg>
          </p:ext>
        </pc:extLst>
      </pc:sldChg>
      <pc:sldChg chg="addSp delSp modSp new del mod ord addCm">
        <pc:chgData name="Jacob, Karen (SPAC/PSPC) (elle-la / she-her)" userId="66e9cce0-e37b-4645-a907-f7690bd68dfb" providerId="ADAL" clId="{871AC57A-6E3B-4D85-BA02-8D6F5065EA89}" dt="2024-06-05T17:58:14.009" v="149" actId="47"/>
        <pc:sldMkLst>
          <pc:docMk/>
          <pc:sldMk cId="3046825340" sldId="5003"/>
        </pc:sldMkLst>
        <pc:spChg chg="del">
          <ac:chgData name="Jacob, Karen (SPAC/PSPC) (elle-la / she-her)" userId="66e9cce0-e37b-4645-a907-f7690bd68dfb" providerId="ADAL" clId="{871AC57A-6E3B-4D85-BA02-8D6F5065EA89}" dt="2024-06-05T17:42:06.189" v="138" actId="478"/>
          <ac:spMkLst>
            <pc:docMk/>
            <pc:sldMk cId="3046825340" sldId="5003"/>
            <ac:spMk id="2" creationId="{850D4D40-9852-4FAE-4EE1-A817E0B3A729}"/>
          </ac:spMkLst>
        </pc:spChg>
        <pc:spChg chg="add mod">
          <ac:chgData name="Jacob, Karen (SPAC/PSPC) (elle-la / she-her)" userId="66e9cce0-e37b-4645-a907-f7690bd68dfb" providerId="ADAL" clId="{871AC57A-6E3B-4D85-BA02-8D6F5065EA89}" dt="2024-06-05T17:42:06.862" v="139"/>
          <ac:spMkLst>
            <pc:docMk/>
            <pc:sldMk cId="3046825340" sldId="5003"/>
            <ac:spMk id="4" creationId="{94149456-D828-7631-D124-8216518C8B52}"/>
          </ac:spMkLst>
        </pc:spChg>
        <pc:spChg chg="add mod">
          <ac:chgData name="Jacob, Karen (SPAC/PSPC) (elle-la / she-her)" userId="66e9cce0-e37b-4645-a907-f7690bd68dfb" providerId="ADAL" clId="{871AC57A-6E3B-4D85-BA02-8D6F5065EA89}" dt="2024-06-05T17:42:06.862" v="139"/>
          <ac:spMkLst>
            <pc:docMk/>
            <pc:sldMk cId="3046825340" sldId="5003"/>
            <ac:spMk id="5" creationId="{3B5AB54E-48FF-960C-44EF-1B2ECEE0CD6B}"/>
          </ac:spMkLst>
        </pc:spChg>
        <pc:spChg chg="add mod">
          <ac:chgData name="Jacob, Karen (SPAC/PSPC) (elle-la / she-her)" userId="66e9cce0-e37b-4645-a907-f7690bd68dfb" providerId="ADAL" clId="{871AC57A-6E3B-4D85-BA02-8D6F5065EA89}" dt="2024-06-05T17:42:06.862" v="139"/>
          <ac:spMkLst>
            <pc:docMk/>
            <pc:sldMk cId="3046825340" sldId="5003"/>
            <ac:spMk id="6" creationId="{6E2F315B-B8F4-4487-9F8A-50A37E7589C1}"/>
          </ac:spMkLst>
        </pc:spChg>
        <pc:spChg chg="add mod">
          <ac:chgData name="Jacob, Karen (SPAC/PSPC) (elle-la / she-her)" userId="66e9cce0-e37b-4645-a907-f7690bd68dfb" providerId="ADAL" clId="{871AC57A-6E3B-4D85-BA02-8D6F5065EA89}" dt="2024-06-05T17:42:06.862" v="139"/>
          <ac:spMkLst>
            <pc:docMk/>
            <pc:sldMk cId="3046825340" sldId="5003"/>
            <ac:spMk id="7" creationId="{57BC91C3-1BAD-C13F-476E-749E95DF51BA}"/>
          </ac:spMkLst>
        </pc:spChg>
        <pc:spChg chg="mod">
          <ac:chgData name="Jacob, Karen (SPAC/PSPC) (elle-la / she-her)" userId="66e9cce0-e37b-4645-a907-f7690bd68dfb" providerId="ADAL" clId="{871AC57A-6E3B-4D85-BA02-8D6F5065EA89}" dt="2024-06-05T17:42:06.862" v="139"/>
          <ac:spMkLst>
            <pc:docMk/>
            <pc:sldMk cId="3046825340" sldId="5003"/>
            <ac:spMk id="10" creationId="{2DAF6016-13E7-552E-A9D7-A9E06AEE4AFB}"/>
          </ac:spMkLst>
        </pc:spChg>
        <pc:spChg chg="mod">
          <ac:chgData name="Jacob, Karen (SPAC/PSPC) (elle-la / she-her)" userId="66e9cce0-e37b-4645-a907-f7690bd68dfb" providerId="ADAL" clId="{871AC57A-6E3B-4D85-BA02-8D6F5065EA89}" dt="2024-06-05T17:42:06.862" v="139"/>
          <ac:spMkLst>
            <pc:docMk/>
            <pc:sldMk cId="3046825340" sldId="5003"/>
            <ac:spMk id="13" creationId="{DD1D6B6E-2BDE-22FE-E689-86279C5595A2}"/>
          </ac:spMkLst>
        </pc:spChg>
        <pc:spChg chg="add mod">
          <ac:chgData name="Jacob, Karen (SPAC/PSPC) (elle-la / she-her)" userId="66e9cce0-e37b-4645-a907-f7690bd68dfb" providerId="ADAL" clId="{871AC57A-6E3B-4D85-BA02-8D6F5065EA89}" dt="2024-06-05T17:42:06.862" v="139"/>
          <ac:spMkLst>
            <pc:docMk/>
            <pc:sldMk cId="3046825340" sldId="5003"/>
            <ac:spMk id="16" creationId="{88A67AC0-16A2-69DD-13FB-1AC24A1F4F68}"/>
          </ac:spMkLst>
        </pc:spChg>
        <pc:spChg chg="add mod">
          <ac:chgData name="Jacob, Karen (SPAC/PSPC) (elle-la / she-her)" userId="66e9cce0-e37b-4645-a907-f7690bd68dfb" providerId="ADAL" clId="{871AC57A-6E3B-4D85-BA02-8D6F5065EA89}" dt="2024-06-05T17:42:06.862" v="139"/>
          <ac:spMkLst>
            <pc:docMk/>
            <pc:sldMk cId="3046825340" sldId="5003"/>
            <ac:spMk id="17" creationId="{DD9938B7-537C-0486-7AB7-C0584C0660B2}"/>
          </ac:spMkLst>
        </pc:spChg>
        <pc:spChg chg="add mod">
          <ac:chgData name="Jacob, Karen (SPAC/PSPC) (elle-la / she-her)" userId="66e9cce0-e37b-4645-a907-f7690bd68dfb" providerId="ADAL" clId="{871AC57A-6E3B-4D85-BA02-8D6F5065EA89}" dt="2024-06-05T17:42:06.862" v="139"/>
          <ac:spMkLst>
            <pc:docMk/>
            <pc:sldMk cId="3046825340" sldId="5003"/>
            <ac:spMk id="18" creationId="{0D102F7D-0380-121B-D536-39842A725D07}"/>
          </ac:spMkLst>
        </pc:spChg>
        <pc:spChg chg="add mod">
          <ac:chgData name="Jacob, Karen (SPAC/PSPC) (elle-la / she-her)" userId="66e9cce0-e37b-4645-a907-f7690bd68dfb" providerId="ADAL" clId="{871AC57A-6E3B-4D85-BA02-8D6F5065EA89}" dt="2024-06-05T17:42:06.862" v="139"/>
          <ac:spMkLst>
            <pc:docMk/>
            <pc:sldMk cId="3046825340" sldId="5003"/>
            <ac:spMk id="19" creationId="{B9007843-083B-D939-99FB-850D52194D6F}"/>
          </ac:spMkLst>
        </pc:spChg>
        <pc:spChg chg="add mod">
          <ac:chgData name="Jacob, Karen (SPAC/PSPC) (elle-la / she-her)" userId="66e9cce0-e37b-4645-a907-f7690bd68dfb" providerId="ADAL" clId="{871AC57A-6E3B-4D85-BA02-8D6F5065EA89}" dt="2024-06-05T17:42:06.862" v="139"/>
          <ac:spMkLst>
            <pc:docMk/>
            <pc:sldMk cId="3046825340" sldId="5003"/>
            <ac:spMk id="21" creationId="{3FB4048D-02D4-0446-01EC-D092035F9B07}"/>
          </ac:spMkLst>
        </pc:spChg>
        <pc:spChg chg="add mod">
          <ac:chgData name="Jacob, Karen (SPAC/PSPC) (elle-la / she-her)" userId="66e9cce0-e37b-4645-a907-f7690bd68dfb" providerId="ADAL" clId="{871AC57A-6E3B-4D85-BA02-8D6F5065EA89}" dt="2024-06-05T17:42:06.862" v="139"/>
          <ac:spMkLst>
            <pc:docMk/>
            <pc:sldMk cId="3046825340" sldId="5003"/>
            <ac:spMk id="22" creationId="{8A974CF0-D716-C8B6-CDC3-D0DA155B85A6}"/>
          </ac:spMkLst>
        </pc:spChg>
        <pc:spChg chg="add mod">
          <ac:chgData name="Jacob, Karen (SPAC/PSPC) (elle-la / she-her)" userId="66e9cce0-e37b-4645-a907-f7690bd68dfb" providerId="ADAL" clId="{871AC57A-6E3B-4D85-BA02-8D6F5065EA89}" dt="2024-06-05T17:42:06.862" v="139"/>
          <ac:spMkLst>
            <pc:docMk/>
            <pc:sldMk cId="3046825340" sldId="5003"/>
            <ac:spMk id="23" creationId="{BF8B0AF6-C8BE-E1A1-29AC-9642706882EA}"/>
          </ac:spMkLst>
        </pc:spChg>
        <pc:spChg chg="add mod">
          <ac:chgData name="Jacob, Karen (SPAC/PSPC) (elle-la / she-her)" userId="66e9cce0-e37b-4645-a907-f7690bd68dfb" providerId="ADAL" clId="{871AC57A-6E3B-4D85-BA02-8D6F5065EA89}" dt="2024-06-05T17:42:06.862" v="139"/>
          <ac:spMkLst>
            <pc:docMk/>
            <pc:sldMk cId="3046825340" sldId="5003"/>
            <ac:spMk id="24" creationId="{B237313A-AA45-A5D6-D2A8-26AA1F9A4D46}"/>
          </ac:spMkLst>
        </pc:spChg>
        <pc:spChg chg="add mod">
          <ac:chgData name="Jacob, Karen (SPAC/PSPC) (elle-la / she-her)" userId="66e9cce0-e37b-4645-a907-f7690bd68dfb" providerId="ADAL" clId="{871AC57A-6E3B-4D85-BA02-8D6F5065EA89}" dt="2024-06-05T17:42:06.862" v="139"/>
          <ac:spMkLst>
            <pc:docMk/>
            <pc:sldMk cId="3046825340" sldId="5003"/>
            <ac:spMk id="25" creationId="{664EE333-71DB-3A4A-2C15-D1D6BBB21920}"/>
          </ac:spMkLst>
        </pc:spChg>
        <pc:spChg chg="add mod">
          <ac:chgData name="Jacob, Karen (SPAC/PSPC) (elle-la / she-her)" userId="66e9cce0-e37b-4645-a907-f7690bd68dfb" providerId="ADAL" clId="{871AC57A-6E3B-4D85-BA02-8D6F5065EA89}" dt="2024-06-05T17:42:06.862" v="139"/>
          <ac:spMkLst>
            <pc:docMk/>
            <pc:sldMk cId="3046825340" sldId="5003"/>
            <ac:spMk id="26" creationId="{FC23181F-1DD9-7A79-215C-BB0884951DE0}"/>
          </ac:spMkLst>
        </pc:spChg>
        <pc:spChg chg="add mod">
          <ac:chgData name="Jacob, Karen (SPAC/PSPC) (elle-la / she-her)" userId="66e9cce0-e37b-4645-a907-f7690bd68dfb" providerId="ADAL" clId="{871AC57A-6E3B-4D85-BA02-8D6F5065EA89}" dt="2024-06-05T17:42:06.862" v="139"/>
          <ac:spMkLst>
            <pc:docMk/>
            <pc:sldMk cId="3046825340" sldId="5003"/>
            <ac:spMk id="27" creationId="{70B07075-E06E-8408-9BFF-D2CD4925E48A}"/>
          </ac:spMkLst>
        </pc:spChg>
        <pc:spChg chg="add mod">
          <ac:chgData name="Jacob, Karen (SPAC/PSPC) (elle-la / she-her)" userId="66e9cce0-e37b-4645-a907-f7690bd68dfb" providerId="ADAL" clId="{871AC57A-6E3B-4D85-BA02-8D6F5065EA89}" dt="2024-06-05T17:42:06.862" v="139"/>
          <ac:spMkLst>
            <pc:docMk/>
            <pc:sldMk cId="3046825340" sldId="5003"/>
            <ac:spMk id="28" creationId="{FD1C7383-2DC2-22D8-D349-DCC232243505}"/>
          </ac:spMkLst>
        </pc:spChg>
        <pc:spChg chg="add mod">
          <ac:chgData name="Jacob, Karen (SPAC/PSPC) (elle-la / she-her)" userId="66e9cce0-e37b-4645-a907-f7690bd68dfb" providerId="ADAL" clId="{871AC57A-6E3B-4D85-BA02-8D6F5065EA89}" dt="2024-06-05T17:42:06.862" v="139"/>
          <ac:spMkLst>
            <pc:docMk/>
            <pc:sldMk cId="3046825340" sldId="5003"/>
            <ac:spMk id="29" creationId="{CDE0D926-AD72-CDFA-B262-F317B0F30F25}"/>
          </ac:spMkLst>
        </pc:spChg>
        <pc:spChg chg="add mod">
          <ac:chgData name="Jacob, Karen (SPAC/PSPC) (elle-la / she-her)" userId="66e9cce0-e37b-4645-a907-f7690bd68dfb" providerId="ADAL" clId="{871AC57A-6E3B-4D85-BA02-8D6F5065EA89}" dt="2024-06-05T17:42:06.862" v="139"/>
          <ac:spMkLst>
            <pc:docMk/>
            <pc:sldMk cId="3046825340" sldId="5003"/>
            <ac:spMk id="30" creationId="{5C31BF45-E749-C472-36EC-411EA9B3827E}"/>
          </ac:spMkLst>
        </pc:spChg>
        <pc:spChg chg="add mod">
          <ac:chgData name="Jacob, Karen (SPAC/PSPC) (elle-la / she-her)" userId="66e9cce0-e37b-4645-a907-f7690bd68dfb" providerId="ADAL" clId="{871AC57A-6E3B-4D85-BA02-8D6F5065EA89}" dt="2024-06-05T17:42:06.862" v="139"/>
          <ac:spMkLst>
            <pc:docMk/>
            <pc:sldMk cId="3046825340" sldId="5003"/>
            <ac:spMk id="31" creationId="{0DA5B392-E7DD-19C4-20DC-7E84812D3AF3}"/>
          </ac:spMkLst>
        </pc:spChg>
        <pc:spChg chg="add mod">
          <ac:chgData name="Jacob, Karen (SPAC/PSPC) (elle-la / she-her)" userId="66e9cce0-e37b-4645-a907-f7690bd68dfb" providerId="ADAL" clId="{871AC57A-6E3B-4D85-BA02-8D6F5065EA89}" dt="2024-06-05T17:42:06.862" v="139"/>
          <ac:spMkLst>
            <pc:docMk/>
            <pc:sldMk cId="3046825340" sldId="5003"/>
            <ac:spMk id="32" creationId="{42A6CAA5-16D3-0918-50D0-42EB107C127A}"/>
          </ac:spMkLst>
        </pc:spChg>
        <pc:spChg chg="add mod">
          <ac:chgData name="Jacob, Karen (SPAC/PSPC) (elle-la / she-her)" userId="66e9cce0-e37b-4645-a907-f7690bd68dfb" providerId="ADAL" clId="{871AC57A-6E3B-4D85-BA02-8D6F5065EA89}" dt="2024-06-05T17:42:06.862" v="139"/>
          <ac:spMkLst>
            <pc:docMk/>
            <pc:sldMk cId="3046825340" sldId="5003"/>
            <ac:spMk id="33" creationId="{BD0F2C9B-4899-9F86-8359-FF2DCDE3AF75}"/>
          </ac:spMkLst>
        </pc:spChg>
        <pc:grpChg chg="add mod">
          <ac:chgData name="Jacob, Karen (SPAC/PSPC) (elle-la / she-her)" userId="66e9cce0-e37b-4645-a907-f7690bd68dfb" providerId="ADAL" clId="{871AC57A-6E3B-4D85-BA02-8D6F5065EA89}" dt="2024-06-05T17:42:06.862" v="139"/>
          <ac:grpSpMkLst>
            <pc:docMk/>
            <pc:sldMk cId="3046825340" sldId="5003"/>
            <ac:grpSpMk id="8" creationId="{C6C0AAF2-0006-7FBA-3785-FF6D11551578}"/>
          </ac:grpSpMkLst>
        </pc:grpChg>
        <pc:grpChg chg="add mod">
          <ac:chgData name="Jacob, Karen (SPAC/PSPC) (elle-la / she-her)" userId="66e9cce0-e37b-4645-a907-f7690bd68dfb" providerId="ADAL" clId="{871AC57A-6E3B-4D85-BA02-8D6F5065EA89}" dt="2024-06-05T17:42:06.862" v="139"/>
          <ac:grpSpMkLst>
            <pc:docMk/>
            <pc:sldMk cId="3046825340" sldId="5003"/>
            <ac:grpSpMk id="11" creationId="{54628767-A831-C637-6956-5AA03BCDDA3F}"/>
          </ac:grpSpMkLst>
        </pc:grpChg>
        <pc:picChg chg="mod">
          <ac:chgData name="Jacob, Karen (SPAC/PSPC) (elle-la / she-her)" userId="66e9cce0-e37b-4645-a907-f7690bd68dfb" providerId="ADAL" clId="{871AC57A-6E3B-4D85-BA02-8D6F5065EA89}" dt="2024-06-05T17:42:06.862" v="139"/>
          <ac:picMkLst>
            <pc:docMk/>
            <pc:sldMk cId="3046825340" sldId="5003"/>
            <ac:picMk id="9" creationId="{F6C949EA-B296-0F73-D288-86B82C81DFCE}"/>
          </ac:picMkLst>
        </pc:picChg>
        <pc:picChg chg="mod">
          <ac:chgData name="Jacob, Karen (SPAC/PSPC) (elle-la / she-her)" userId="66e9cce0-e37b-4645-a907-f7690bd68dfb" providerId="ADAL" clId="{871AC57A-6E3B-4D85-BA02-8D6F5065EA89}" dt="2024-06-05T17:42:06.862" v="139"/>
          <ac:picMkLst>
            <pc:docMk/>
            <pc:sldMk cId="3046825340" sldId="5003"/>
            <ac:picMk id="12" creationId="{3D4CED1A-4C35-1DB7-B148-54B9A6525655}"/>
          </ac:picMkLst>
        </pc:picChg>
        <pc:picChg chg="add mod">
          <ac:chgData name="Jacob, Karen (SPAC/PSPC) (elle-la / she-her)" userId="66e9cce0-e37b-4645-a907-f7690bd68dfb" providerId="ADAL" clId="{871AC57A-6E3B-4D85-BA02-8D6F5065EA89}" dt="2024-06-05T17:42:06.862" v="139"/>
          <ac:picMkLst>
            <pc:docMk/>
            <pc:sldMk cId="3046825340" sldId="5003"/>
            <ac:picMk id="14" creationId="{0E228B9F-D223-2B98-52A9-84F2251AA71F}"/>
          </ac:picMkLst>
        </pc:picChg>
        <pc:picChg chg="add mod">
          <ac:chgData name="Jacob, Karen (SPAC/PSPC) (elle-la / she-her)" userId="66e9cce0-e37b-4645-a907-f7690bd68dfb" providerId="ADAL" clId="{871AC57A-6E3B-4D85-BA02-8D6F5065EA89}" dt="2024-06-05T17:42:06.862" v="139"/>
          <ac:picMkLst>
            <pc:docMk/>
            <pc:sldMk cId="3046825340" sldId="5003"/>
            <ac:picMk id="15" creationId="{A820C387-57F8-5712-4A7D-577683335A55}"/>
          </ac:picMkLst>
        </pc:picChg>
        <pc:picChg chg="add mod">
          <ac:chgData name="Jacob, Karen (SPAC/PSPC) (elle-la / she-her)" userId="66e9cce0-e37b-4645-a907-f7690bd68dfb" providerId="ADAL" clId="{871AC57A-6E3B-4D85-BA02-8D6F5065EA89}" dt="2024-06-05T17:42:06.862" v="139"/>
          <ac:picMkLst>
            <pc:docMk/>
            <pc:sldMk cId="3046825340" sldId="5003"/>
            <ac:picMk id="20" creationId="{0DCE02AC-F94C-B41E-8236-0467A9A12042}"/>
          </ac:picMkLst>
        </pc:picChg>
        <pc:picChg chg="add mod">
          <ac:chgData name="Jacob, Karen (SPAC/PSPC) (elle-la / she-her)" userId="66e9cce0-e37b-4645-a907-f7690bd68dfb" providerId="ADAL" clId="{871AC57A-6E3B-4D85-BA02-8D6F5065EA89}" dt="2024-06-05T17:42:06.862" v="139"/>
          <ac:picMkLst>
            <pc:docMk/>
            <pc:sldMk cId="3046825340" sldId="5003"/>
            <ac:picMk id="34" creationId="{BC900C86-A46F-AB46-2B31-ABCBC4868D1D}"/>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3:06.836" v="140"/>
              <pc2:cmMkLst xmlns:pc2="http://schemas.microsoft.com/office/powerpoint/2019/9/main/command">
                <pc:docMk/>
                <pc:sldMk cId="3046825340" sldId="5003"/>
                <pc2:cmMk id="{85916A68-495D-4B00-9FF2-03DC716D5D89}"/>
              </pc2:cmMkLst>
            </pc226:cmChg>
          </p:ext>
        </pc:extLst>
      </pc:sldChg>
      <pc:sldChg chg="addSp delSp modSp new del mod addCm">
        <pc:chgData name="Jacob, Karen (SPAC/PSPC) (elle-la / she-her)" userId="66e9cce0-e37b-4645-a907-f7690bd68dfb" providerId="ADAL" clId="{871AC57A-6E3B-4D85-BA02-8D6F5065EA89}" dt="2024-06-21T12:39:14.671" v="158" actId="47"/>
        <pc:sldMkLst>
          <pc:docMk/>
          <pc:sldMk cId="1903397118" sldId="5004"/>
        </pc:sldMkLst>
        <pc:spChg chg="del mod">
          <ac:chgData name="Jacob, Karen (SPAC/PSPC) (elle-la / she-her)" userId="66e9cce0-e37b-4645-a907-f7690bd68dfb" providerId="ADAL" clId="{871AC57A-6E3B-4D85-BA02-8D6F5065EA89}" dt="2024-06-05T17:57:40.605" v="148" actId="478"/>
          <ac:spMkLst>
            <pc:docMk/>
            <pc:sldMk cId="1903397118" sldId="5004"/>
            <ac:spMk id="2" creationId="{6DE7A4F7-121E-7AE4-3969-439BB4E5A416}"/>
          </ac:spMkLst>
        </pc:spChg>
        <pc:spChg chg="mod">
          <ac:chgData name="Jacob, Karen (SPAC/PSPC) (elle-la / she-her)" userId="66e9cce0-e37b-4645-a907-f7690bd68dfb" providerId="ADAL" clId="{871AC57A-6E3B-4D85-BA02-8D6F5065EA89}" dt="2024-06-05T17:57:36.566" v="146"/>
          <ac:spMkLst>
            <pc:docMk/>
            <pc:sldMk cId="1903397118" sldId="5004"/>
            <ac:spMk id="8" creationId="{95AA72BE-F899-9787-6D51-A27FCC03AE79}"/>
          </ac:spMkLst>
        </pc:spChg>
        <pc:spChg chg="add mod">
          <ac:chgData name="Jacob, Karen (SPAC/PSPC) (elle-la / she-her)" userId="66e9cce0-e37b-4645-a907-f7690bd68dfb" providerId="ADAL" clId="{871AC57A-6E3B-4D85-BA02-8D6F5065EA89}" dt="2024-06-05T17:57:36.566" v="146"/>
          <ac:spMkLst>
            <pc:docMk/>
            <pc:sldMk cId="1903397118" sldId="5004"/>
            <ac:spMk id="11" creationId="{7B88AABC-8CC7-E071-5FFA-42E31EE7BCE7}"/>
          </ac:spMkLst>
        </pc:spChg>
        <pc:spChg chg="mod">
          <ac:chgData name="Jacob, Karen (SPAC/PSPC) (elle-la / she-her)" userId="66e9cce0-e37b-4645-a907-f7690bd68dfb" providerId="ADAL" clId="{871AC57A-6E3B-4D85-BA02-8D6F5065EA89}" dt="2024-06-05T17:57:36.566" v="146"/>
          <ac:spMkLst>
            <pc:docMk/>
            <pc:sldMk cId="1903397118" sldId="5004"/>
            <ac:spMk id="13" creationId="{CC8561CD-1818-40EF-C87B-BCBC16D002C2}"/>
          </ac:spMkLst>
        </pc:spChg>
        <pc:spChg chg="mod">
          <ac:chgData name="Jacob, Karen (SPAC/PSPC) (elle-la / she-her)" userId="66e9cce0-e37b-4645-a907-f7690bd68dfb" providerId="ADAL" clId="{871AC57A-6E3B-4D85-BA02-8D6F5065EA89}" dt="2024-06-05T17:57:36.566" v="146"/>
          <ac:spMkLst>
            <pc:docMk/>
            <pc:sldMk cId="1903397118" sldId="5004"/>
            <ac:spMk id="20" creationId="{F91AC382-4A88-956F-BBFC-505104EEBE0C}"/>
          </ac:spMkLst>
        </pc:spChg>
        <pc:spChg chg="mod">
          <ac:chgData name="Jacob, Karen (SPAC/PSPC) (elle-la / she-her)" userId="66e9cce0-e37b-4645-a907-f7690bd68dfb" providerId="ADAL" clId="{871AC57A-6E3B-4D85-BA02-8D6F5065EA89}" dt="2024-06-05T17:57:36.566" v="146"/>
          <ac:spMkLst>
            <pc:docMk/>
            <pc:sldMk cId="1903397118" sldId="5004"/>
            <ac:spMk id="21" creationId="{7DAD5D9A-859E-E0B0-C3A9-C24291ADDC4D}"/>
          </ac:spMkLst>
        </pc:spChg>
        <pc:spChg chg="mod">
          <ac:chgData name="Jacob, Karen (SPAC/PSPC) (elle-la / she-her)" userId="66e9cce0-e37b-4645-a907-f7690bd68dfb" providerId="ADAL" clId="{871AC57A-6E3B-4D85-BA02-8D6F5065EA89}" dt="2024-06-05T17:57:36.566" v="146"/>
          <ac:spMkLst>
            <pc:docMk/>
            <pc:sldMk cId="1903397118" sldId="5004"/>
            <ac:spMk id="22" creationId="{59D296BE-5F52-32BF-9CA1-13043C7B10E8}"/>
          </ac:spMkLst>
        </pc:spChg>
        <pc:spChg chg="mod">
          <ac:chgData name="Jacob, Karen (SPAC/PSPC) (elle-la / she-her)" userId="66e9cce0-e37b-4645-a907-f7690bd68dfb" providerId="ADAL" clId="{871AC57A-6E3B-4D85-BA02-8D6F5065EA89}" dt="2024-06-05T17:57:36.566" v="146"/>
          <ac:spMkLst>
            <pc:docMk/>
            <pc:sldMk cId="1903397118" sldId="5004"/>
            <ac:spMk id="23" creationId="{B0232C10-5F74-A94D-70C3-093093BE4F2B}"/>
          </ac:spMkLst>
        </pc:spChg>
        <pc:spChg chg="mod">
          <ac:chgData name="Jacob, Karen (SPAC/PSPC) (elle-la / she-her)" userId="66e9cce0-e37b-4645-a907-f7690bd68dfb" providerId="ADAL" clId="{871AC57A-6E3B-4D85-BA02-8D6F5065EA89}" dt="2024-06-05T17:57:36.566" v="146"/>
          <ac:spMkLst>
            <pc:docMk/>
            <pc:sldMk cId="1903397118" sldId="5004"/>
            <ac:spMk id="24" creationId="{2F645C0B-99A7-FAC8-923C-1A469ADF66F9}"/>
          </ac:spMkLst>
        </pc:spChg>
        <pc:spChg chg="mod">
          <ac:chgData name="Jacob, Karen (SPAC/PSPC) (elle-la / she-her)" userId="66e9cce0-e37b-4645-a907-f7690bd68dfb" providerId="ADAL" clId="{871AC57A-6E3B-4D85-BA02-8D6F5065EA89}" dt="2024-06-05T17:57:36.566" v="146"/>
          <ac:spMkLst>
            <pc:docMk/>
            <pc:sldMk cId="1903397118" sldId="5004"/>
            <ac:spMk id="26" creationId="{AEE63864-6D27-AD82-155C-71DB4943F85A}"/>
          </ac:spMkLst>
        </pc:spChg>
        <pc:spChg chg="mod">
          <ac:chgData name="Jacob, Karen (SPAC/PSPC) (elle-la / she-her)" userId="66e9cce0-e37b-4645-a907-f7690bd68dfb" providerId="ADAL" clId="{871AC57A-6E3B-4D85-BA02-8D6F5065EA89}" dt="2024-06-05T17:57:36.566" v="146"/>
          <ac:spMkLst>
            <pc:docMk/>
            <pc:sldMk cId="1903397118" sldId="5004"/>
            <ac:spMk id="28" creationId="{DD6A8209-89FB-F41C-38A2-E4E6CFBA12C7}"/>
          </ac:spMkLst>
        </pc:spChg>
        <pc:spChg chg="mod">
          <ac:chgData name="Jacob, Karen (SPAC/PSPC) (elle-la / she-her)" userId="66e9cce0-e37b-4645-a907-f7690bd68dfb" providerId="ADAL" clId="{871AC57A-6E3B-4D85-BA02-8D6F5065EA89}" dt="2024-06-05T17:57:36.566" v="146"/>
          <ac:spMkLst>
            <pc:docMk/>
            <pc:sldMk cId="1903397118" sldId="5004"/>
            <ac:spMk id="29" creationId="{17AAB599-B658-8789-275E-2BF0B7EE01F7}"/>
          </ac:spMkLst>
        </pc:spChg>
        <pc:spChg chg="mod">
          <ac:chgData name="Jacob, Karen (SPAC/PSPC) (elle-la / she-her)" userId="66e9cce0-e37b-4645-a907-f7690bd68dfb" providerId="ADAL" clId="{871AC57A-6E3B-4D85-BA02-8D6F5065EA89}" dt="2024-06-05T17:57:36.566" v="146"/>
          <ac:spMkLst>
            <pc:docMk/>
            <pc:sldMk cId="1903397118" sldId="5004"/>
            <ac:spMk id="30" creationId="{64C00AF0-846C-AC11-D45A-3320A1752541}"/>
          </ac:spMkLst>
        </pc:spChg>
        <pc:spChg chg="mod">
          <ac:chgData name="Jacob, Karen (SPAC/PSPC) (elle-la / she-her)" userId="66e9cce0-e37b-4645-a907-f7690bd68dfb" providerId="ADAL" clId="{871AC57A-6E3B-4D85-BA02-8D6F5065EA89}" dt="2024-06-05T17:57:36.566" v="146"/>
          <ac:spMkLst>
            <pc:docMk/>
            <pc:sldMk cId="1903397118" sldId="5004"/>
            <ac:spMk id="31" creationId="{40219A96-A6B3-18C4-70A1-7322AD51D498}"/>
          </ac:spMkLst>
        </pc:spChg>
        <pc:spChg chg="mod">
          <ac:chgData name="Jacob, Karen (SPAC/PSPC) (elle-la / she-her)" userId="66e9cce0-e37b-4645-a907-f7690bd68dfb" providerId="ADAL" clId="{871AC57A-6E3B-4D85-BA02-8D6F5065EA89}" dt="2024-06-05T17:57:36.566" v="146"/>
          <ac:spMkLst>
            <pc:docMk/>
            <pc:sldMk cId="1903397118" sldId="5004"/>
            <ac:spMk id="32" creationId="{3E52EB05-19B2-5491-8E65-4AC634DD5363}"/>
          </ac:spMkLst>
        </pc:spChg>
        <pc:spChg chg="mod">
          <ac:chgData name="Jacob, Karen (SPAC/PSPC) (elle-la / she-her)" userId="66e9cce0-e37b-4645-a907-f7690bd68dfb" providerId="ADAL" clId="{871AC57A-6E3B-4D85-BA02-8D6F5065EA89}" dt="2024-06-05T17:57:36.566" v="146"/>
          <ac:spMkLst>
            <pc:docMk/>
            <pc:sldMk cId="1903397118" sldId="5004"/>
            <ac:spMk id="33" creationId="{F39D078F-C966-F670-30E6-EA0B9D1E2E1C}"/>
          </ac:spMkLst>
        </pc:spChg>
        <pc:spChg chg="mod">
          <ac:chgData name="Jacob, Karen (SPAC/PSPC) (elle-la / she-her)" userId="66e9cce0-e37b-4645-a907-f7690bd68dfb" providerId="ADAL" clId="{871AC57A-6E3B-4D85-BA02-8D6F5065EA89}" dt="2024-06-05T17:57:36.566" v="146"/>
          <ac:spMkLst>
            <pc:docMk/>
            <pc:sldMk cId="1903397118" sldId="5004"/>
            <ac:spMk id="34" creationId="{DA7CA523-DDC4-D9FD-F484-6029F4A49CFC}"/>
          </ac:spMkLst>
        </pc:spChg>
        <pc:spChg chg="mod">
          <ac:chgData name="Jacob, Karen (SPAC/PSPC) (elle-la / she-her)" userId="66e9cce0-e37b-4645-a907-f7690bd68dfb" providerId="ADAL" clId="{871AC57A-6E3B-4D85-BA02-8D6F5065EA89}" dt="2024-06-05T17:57:36.566" v="146"/>
          <ac:spMkLst>
            <pc:docMk/>
            <pc:sldMk cId="1903397118" sldId="5004"/>
            <ac:spMk id="35" creationId="{AA4B2DFF-BDA8-B0F3-52AD-B991FCF8F0D5}"/>
          </ac:spMkLst>
        </pc:spChg>
        <pc:spChg chg="mod">
          <ac:chgData name="Jacob, Karen (SPAC/PSPC) (elle-la / she-her)" userId="66e9cce0-e37b-4645-a907-f7690bd68dfb" providerId="ADAL" clId="{871AC57A-6E3B-4D85-BA02-8D6F5065EA89}" dt="2024-06-05T17:57:36.566" v="146"/>
          <ac:spMkLst>
            <pc:docMk/>
            <pc:sldMk cId="1903397118" sldId="5004"/>
            <ac:spMk id="36" creationId="{2C845B85-89E7-34CB-B27E-8E794AF6E083}"/>
          </ac:spMkLst>
        </pc:spChg>
        <pc:spChg chg="mod">
          <ac:chgData name="Jacob, Karen (SPAC/PSPC) (elle-la / she-her)" userId="66e9cce0-e37b-4645-a907-f7690bd68dfb" providerId="ADAL" clId="{871AC57A-6E3B-4D85-BA02-8D6F5065EA89}" dt="2024-06-05T17:57:36.566" v="146"/>
          <ac:spMkLst>
            <pc:docMk/>
            <pc:sldMk cId="1903397118" sldId="5004"/>
            <ac:spMk id="37" creationId="{C9E97066-EA69-544C-9F37-AFFD6B0056B3}"/>
          </ac:spMkLst>
        </pc:spChg>
        <pc:spChg chg="mod">
          <ac:chgData name="Jacob, Karen (SPAC/PSPC) (elle-la / she-her)" userId="66e9cce0-e37b-4645-a907-f7690bd68dfb" providerId="ADAL" clId="{871AC57A-6E3B-4D85-BA02-8D6F5065EA89}" dt="2024-06-05T17:57:36.566" v="146"/>
          <ac:spMkLst>
            <pc:docMk/>
            <pc:sldMk cId="1903397118" sldId="5004"/>
            <ac:spMk id="38" creationId="{E126FB0F-799D-882C-3FD4-A3D6F0E19EA4}"/>
          </ac:spMkLst>
        </pc:spChg>
        <pc:spChg chg="mod">
          <ac:chgData name="Jacob, Karen (SPAC/PSPC) (elle-la / she-her)" userId="66e9cce0-e37b-4645-a907-f7690bd68dfb" providerId="ADAL" clId="{871AC57A-6E3B-4D85-BA02-8D6F5065EA89}" dt="2024-06-05T17:57:36.566" v="146"/>
          <ac:spMkLst>
            <pc:docMk/>
            <pc:sldMk cId="1903397118" sldId="5004"/>
            <ac:spMk id="39" creationId="{69A35E8B-22DC-B000-DDB0-E3E9993DD1F8}"/>
          </ac:spMkLst>
        </pc:spChg>
        <pc:spChg chg="mod">
          <ac:chgData name="Jacob, Karen (SPAC/PSPC) (elle-la / she-her)" userId="66e9cce0-e37b-4645-a907-f7690bd68dfb" providerId="ADAL" clId="{871AC57A-6E3B-4D85-BA02-8D6F5065EA89}" dt="2024-06-05T17:57:36.566" v="146"/>
          <ac:spMkLst>
            <pc:docMk/>
            <pc:sldMk cId="1903397118" sldId="5004"/>
            <ac:spMk id="40" creationId="{BEDFA48D-E6B0-DB08-EB17-54B0538F03FC}"/>
          </ac:spMkLst>
        </pc:spChg>
        <pc:spChg chg="mod">
          <ac:chgData name="Jacob, Karen (SPAC/PSPC) (elle-la / she-her)" userId="66e9cce0-e37b-4645-a907-f7690bd68dfb" providerId="ADAL" clId="{871AC57A-6E3B-4D85-BA02-8D6F5065EA89}" dt="2024-06-05T17:57:36.566" v="146"/>
          <ac:spMkLst>
            <pc:docMk/>
            <pc:sldMk cId="1903397118" sldId="5004"/>
            <ac:spMk id="41" creationId="{6EB1F4BF-11AF-61C1-83FE-337F25A50080}"/>
          </ac:spMkLst>
        </pc:spChg>
        <pc:spChg chg="mod">
          <ac:chgData name="Jacob, Karen (SPAC/PSPC) (elle-la / she-her)" userId="66e9cce0-e37b-4645-a907-f7690bd68dfb" providerId="ADAL" clId="{871AC57A-6E3B-4D85-BA02-8D6F5065EA89}" dt="2024-06-05T17:57:36.566" v="146"/>
          <ac:spMkLst>
            <pc:docMk/>
            <pc:sldMk cId="1903397118" sldId="5004"/>
            <ac:spMk id="42" creationId="{C92E9470-2421-B2CE-29BD-598D8B68F2DB}"/>
          </ac:spMkLst>
        </pc:spChg>
        <pc:spChg chg="mod">
          <ac:chgData name="Jacob, Karen (SPAC/PSPC) (elle-la / she-her)" userId="66e9cce0-e37b-4645-a907-f7690bd68dfb" providerId="ADAL" clId="{871AC57A-6E3B-4D85-BA02-8D6F5065EA89}" dt="2024-06-05T17:57:36.566" v="146"/>
          <ac:spMkLst>
            <pc:docMk/>
            <pc:sldMk cId="1903397118" sldId="5004"/>
            <ac:spMk id="43" creationId="{F81ECAE2-EECC-C663-FD27-F93281BCE5D2}"/>
          </ac:spMkLst>
        </pc:spChg>
        <pc:spChg chg="mod">
          <ac:chgData name="Jacob, Karen (SPAC/PSPC) (elle-la / she-her)" userId="66e9cce0-e37b-4645-a907-f7690bd68dfb" providerId="ADAL" clId="{871AC57A-6E3B-4D85-BA02-8D6F5065EA89}" dt="2024-06-05T17:57:36.566" v="146"/>
          <ac:spMkLst>
            <pc:docMk/>
            <pc:sldMk cId="1903397118" sldId="5004"/>
            <ac:spMk id="44" creationId="{D3986DE7-7C73-AEC2-1223-409D3CED3024}"/>
          </ac:spMkLst>
        </pc:spChg>
        <pc:spChg chg="mod">
          <ac:chgData name="Jacob, Karen (SPAC/PSPC) (elle-la / she-her)" userId="66e9cce0-e37b-4645-a907-f7690bd68dfb" providerId="ADAL" clId="{871AC57A-6E3B-4D85-BA02-8D6F5065EA89}" dt="2024-06-05T17:57:36.566" v="146"/>
          <ac:spMkLst>
            <pc:docMk/>
            <pc:sldMk cId="1903397118" sldId="5004"/>
            <ac:spMk id="45" creationId="{9A76645B-880A-B095-B767-5A43E1A2500C}"/>
          </ac:spMkLst>
        </pc:spChg>
        <pc:spChg chg="mod">
          <ac:chgData name="Jacob, Karen (SPAC/PSPC) (elle-la / she-her)" userId="66e9cce0-e37b-4645-a907-f7690bd68dfb" providerId="ADAL" clId="{871AC57A-6E3B-4D85-BA02-8D6F5065EA89}" dt="2024-06-05T17:57:36.566" v="146"/>
          <ac:spMkLst>
            <pc:docMk/>
            <pc:sldMk cId="1903397118" sldId="5004"/>
            <ac:spMk id="46" creationId="{773824BB-1473-34D6-DC3F-18A9C20847D3}"/>
          </ac:spMkLst>
        </pc:spChg>
        <pc:spChg chg="mod">
          <ac:chgData name="Jacob, Karen (SPAC/PSPC) (elle-la / she-her)" userId="66e9cce0-e37b-4645-a907-f7690bd68dfb" providerId="ADAL" clId="{871AC57A-6E3B-4D85-BA02-8D6F5065EA89}" dt="2024-06-05T17:57:36.566" v="146"/>
          <ac:spMkLst>
            <pc:docMk/>
            <pc:sldMk cId="1903397118" sldId="5004"/>
            <ac:spMk id="47" creationId="{B4798825-4047-77ED-B1E0-95E9B493D0AD}"/>
          </ac:spMkLst>
        </pc:spChg>
        <pc:spChg chg="mod">
          <ac:chgData name="Jacob, Karen (SPAC/PSPC) (elle-la / she-her)" userId="66e9cce0-e37b-4645-a907-f7690bd68dfb" providerId="ADAL" clId="{871AC57A-6E3B-4D85-BA02-8D6F5065EA89}" dt="2024-06-05T17:57:36.566" v="146"/>
          <ac:spMkLst>
            <pc:docMk/>
            <pc:sldMk cId="1903397118" sldId="5004"/>
            <ac:spMk id="48" creationId="{5C04D0C4-35E1-C131-E4CA-BD7C2EDB746E}"/>
          </ac:spMkLst>
        </pc:spChg>
        <pc:spChg chg="mod">
          <ac:chgData name="Jacob, Karen (SPAC/PSPC) (elle-la / she-her)" userId="66e9cce0-e37b-4645-a907-f7690bd68dfb" providerId="ADAL" clId="{871AC57A-6E3B-4D85-BA02-8D6F5065EA89}" dt="2024-06-05T17:57:36.566" v="146"/>
          <ac:spMkLst>
            <pc:docMk/>
            <pc:sldMk cId="1903397118" sldId="5004"/>
            <ac:spMk id="49" creationId="{87173ADD-1D45-41E7-7BAD-192410157947}"/>
          </ac:spMkLst>
        </pc:spChg>
        <pc:spChg chg="mod">
          <ac:chgData name="Jacob, Karen (SPAC/PSPC) (elle-la / she-her)" userId="66e9cce0-e37b-4645-a907-f7690bd68dfb" providerId="ADAL" clId="{871AC57A-6E3B-4D85-BA02-8D6F5065EA89}" dt="2024-06-05T17:57:36.566" v="146"/>
          <ac:spMkLst>
            <pc:docMk/>
            <pc:sldMk cId="1903397118" sldId="5004"/>
            <ac:spMk id="50" creationId="{0C32DA1C-1ECE-8C8B-673A-02CA6F1BC08B}"/>
          </ac:spMkLst>
        </pc:spChg>
        <pc:spChg chg="mod">
          <ac:chgData name="Jacob, Karen (SPAC/PSPC) (elle-la / she-her)" userId="66e9cce0-e37b-4645-a907-f7690bd68dfb" providerId="ADAL" clId="{871AC57A-6E3B-4D85-BA02-8D6F5065EA89}" dt="2024-06-05T17:57:36.566" v="146"/>
          <ac:spMkLst>
            <pc:docMk/>
            <pc:sldMk cId="1903397118" sldId="5004"/>
            <ac:spMk id="51" creationId="{0BEAA3BF-17A1-188C-17DB-2694F8DD66EC}"/>
          </ac:spMkLst>
        </pc:spChg>
        <pc:spChg chg="mod">
          <ac:chgData name="Jacob, Karen (SPAC/PSPC) (elle-la / she-her)" userId="66e9cce0-e37b-4645-a907-f7690bd68dfb" providerId="ADAL" clId="{871AC57A-6E3B-4D85-BA02-8D6F5065EA89}" dt="2024-06-05T17:57:36.566" v="146"/>
          <ac:spMkLst>
            <pc:docMk/>
            <pc:sldMk cId="1903397118" sldId="5004"/>
            <ac:spMk id="52" creationId="{9C6E289A-7E15-DD7A-147A-F2CDFD827845}"/>
          </ac:spMkLst>
        </pc:spChg>
        <pc:spChg chg="mod">
          <ac:chgData name="Jacob, Karen (SPAC/PSPC) (elle-la / she-her)" userId="66e9cce0-e37b-4645-a907-f7690bd68dfb" providerId="ADAL" clId="{871AC57A-6E3B-4D85-BA02-8D6F5065EA89}" dt="2024-06-05T17:57:36.566" v="146"/>
          <ac:spMkLst>
            <pc:docMk/>
            <pc:sldMk cId="1903397118" sldId="5004"/>
            <ac:spMk id="53" creationId="{C787B92F-533A-A1D9-8355-049E106F8698}"/>
          </ac:spMkLst>
        </pc:spChg>
        <pc:spChg chg="mod">
          <ac:chgData name="Jacob, Karen (SPAC/PSPC) (elle-la / she-her)" userId="66e9cce0-e37b-4645-a907-f7690bd68dfb" providerId="ADAL" clId="{871AC57A-6E3B-4D85-BA02-8D6F5065EA89}" dt="2024-06-05T17:57:36.566" v="146"/>
          <ac:spMkLst>
            <pc:docMk/>
            <pc:sldMk cId="1903397118" sldId="5004"/>
            <ac:spMk id="54" creationId="{EE34EBE8-B087-4934-061E-EF54E72FBCE3}"/>
          </ac:spMkLst>
        </pc:spChg>
        <pc:spChg chg="mod">
          <ac:chgData name="Jacob, Karen (SPAC/PSPC) (elle-la / she-her)" userId="66e9cce0-e37b-4645-a907-f7690bd68dfb" providerId="ADAL" clId="{871AC57A-6E3B-4D85-BA02-8D6F5065EA89}" dt="2024-06-05T17:57:36.566" v="146"/>
          <ac:spMkLst>
            <pc:docMk/>
            <pc:sldMk cId="1903397118" sldId="5004"/>
            <ac:spMk id="55" creationId="{DBFAC949-0D4D-320A-F0C7-903A3AA22910}"/>
          </ac:spMkLst>
        </pc:spChg>
        <pc:spChg chg="mod">
          <ac:chgData name="Jacob, Karen (SPAC/PSPC) (elle-la / she-her)" userId="66e9cce0-e37b-4645-a907-f7690bd68dfb" providerId="ADAL" clId="{871AC57A-6E3B-4D85-BA02-8D6F5065EA89}" dt="2024-06-05T17:57:36.566" v="146"/>
          <ac:spMkLst>
            <pc:docMk/>
            <pc:sldMk cId="1903397118" sldId="5004"/>
            <ac:spMk id="56" creationId="{E90CB0F6-1B8F-CF4B-4665-0983680C0C06}"/>
          </ac:spMkLst>
        </pc:spChg>
        <pc:spChg chg="mod">
          <ac:chgData name="Jacob, Karen (SPAC/PSPC) (elle-la / she-her)" userId="66e9cce0-e37b-4645-a907-f7690bd68dfb" providerId="ADAL" clId="{871AC57A-6E3B-4D85-BA02-8D6F5065EA89}" dt="2024-06-05T17:57:36.566" v="146"/>
          <ac:spMkLst>
            <pc:docMk/>
            <pc:sldMk cId="1903397118" sldId="5004"/>
            <ac:spMk id="57" creationId="{F59121C5-2066-BE9E-1D72-1659ED48D970}"/>
          </ac:spMkLst>
        </pc:spChg>
        <pc:spChg chg="mod">
          <ac:chgData name="Jacob, Karen (SPAC/PSPC) (elle-la / she-her)" userId="66e9cce0-e37b-4645-a907-f7690bd68dfb" providerId="ADAL" clId="{871AC57A-6E3B-4D85-BA02-8D6F5065EA89}" dt="2024-06-05T17:57:36.566" v="146"/>
          <ac:spMkLst>
            <pc:docMk/>
            <pc:sldMk cId="1903397118" sldId="5004"/>
            <ac:spMk id="58" creationId="{E49C98A5-DEA0-4DA5-3CF0-8E95C467B21E}"/>
          </ac:spMkLst>
        </pc:spChg>
        <pc:spChg chg="mod">
          <ac:chgData name="Jacob, Karen (SPAC/PSPC) (elle-la / she-her)" userId="66e9cce0-e37b-4645-a907-f7690bd68dfb" providerId="ADAL" clId="{871AC57A-6E3B-4D85-BA02-8D6F5065EA89}" dt="2024-06-05T17:57:36.566" v="146"/>
          <ac:spMkLst>
            <pc:docMk/>
            <pc:sldMk cId="1903397118" sldId="5004"/>
            <ac:spMk id="59" creationId="{87157A23-F9D0-7055-D28A-5E228DE96E8F}"/>
          </ac:spMkLst>
        </pc:spChg>
        <pc:spChg chg="mod">
          <ac:chgData name="Jacob, Karen (SPAC/PSPC) (elle-la / she-her)" userId="66e9cce0-e37b-4645-a907-f7690bd68dfb" providerId="ADAL" clId="{871AC57A-6E3B-4D85-BA02-8D6F5065EA89}" dt="2024-06-05T17:57:36.566" v="146"/>
          <ac:spMkLst>
            <pc:docMk/>
            <pc:sldMk cId="1903397118" sldId="5004"/>
            <ac:spMk id="60" creationId="{60C03AA3-3C6D-0DBD-FF35-B5B7504452F5}"/>
          </ac:spMkLst>
        </pc:spChg>
        <pc:spChg chg="mod">
          <ac:chgData name="Jacob, Karen (SPAC/PSPC) (elle-la / she-her)" userId="66e9cce0-e37b-4645-a907-f7690bd68dfb" providerId="ADAL" clId="{871AC57A-6E3B-4D85-BA02-8D6F5065EA89}" dt="2024-06-05T17:57:36.566" v="146"/>
          <ac:spMkLst>
            <pc:docMk/>
            <pc:sldMk cId="1903397118" sldId="5004"/>
            <ac:spMk id="61" creationId="{5D2E7A06-EC53-3E0A-E766-D89737475C7E}"/>
          </ac:spMkLst>
        </pc:spChg>
        <pc:spChg chg="mod">
          <ac:chgData name="Jacob, Karen (SPAC/PSPC) (elle-la / she-her)" userId="66e9cce0-e37b-4645-a907-f7690bd68dfb" providerId="ADAL" clId="{871AC57A-6E3B-4D85-BA02-8D6F5065EA89}" dt="2024-06-05T17:57:36.566" v="146"/>
          <ac:spMkLst>
            <pc:docMk/>
            <pc:sldMk cId="1903397118" sldId="5004"/>
            <ac:spMk id="62" creationId="{0B2D47D7-9779-071A-2DAD-386B4D732542}"/>
          </ac:spMkLst>
        </pc:spChg>
        <pc:spChg chg="mod">
          <ac:chgData name="Jacob, Karen (SPAC/PSPC) (elle-la / she-her)" userId="66e9cce0-e37b-4645-a907-f7690bd68dfb" providerId="ADAL" clId="{871AC57A-6E3B-4D85-BA02-8D6F5065EA89}" dt="2024-06-05T17:57:36.566" v="146"/>
          <ac:spMkLst>
            <pc:docMk/>
            <pc:sldMk cId="1903397118" sldId="5004"/>
            <ac:spMk id="63" creationId="{A3394D01-212B-891D-B68D-9751E6C3F176}"/>
          </ac:spMkLst>
        </pc:spChg>
        <pc:spChg chg="mod">
          <ac:chgData name="Jacob, Karen (SPAC/PSPC) (elle-la / she-her)" userId="66e9cce0-e37b-4645-a907-f7690bd68dfb" providerId="ADAL" clId="{871AC57A-6E3B-4D85-BA02-8D6F5065EA89}" dt="2024-06-05T17:57:36.566" v="146"/>
          <ac:spMkLst>
            <pc:docMk/>
            <pc:sldMk cId="1903397118" sldId="5004"/>
            <ac:spMk id="64" creationId="{3671BD97-946A-AA8C-6B09-A74A6CD46A04}"/>
          </ac:spMkLst>
        </pc:spChg>
        <pc:spChg chg="mod">
          <ac:chgData name="Jacob, Karen (SPAC/PSPC) (elle-la / she-her)" userId="66e9cce0-e37b-4645-a907-f7690bd68dfb" providerId="ADAL" clId="{871AC57A-6E3B-4D85-BA02-8D6F5065EA89}" dt="2024-06-05T17:57:36.566" v="146"/>
          <ac:spMkLst>
            <pc:docMk/>
            <pc:sldMk cId="1903397118" sldId="5004"/>
            <ac:spMk id="65" creationId="{748ACC47-E95E-D30E-5D99-FE5F7A49F2BB}"/>
          </ac:spMkLst>
        </pc:spChg>
        <pc:spChg chg="mod">
          <ac:chgData name="Jacob, Karen (SPAC/PSPC) (elle-la / she-her)" userId="66e9cce0-e37b-4645-a907-f7690bd68dfb" providerId="ADAL" clId="{871AC57A-6E3B-4D85-BA02-8D6F5065EA89}" dt="2024-06-05T17:57:36.566" v="146"/>
          <ac:spMkLst>
            <pc:docMk/>
            <pc:sldMk cId="1903397118" sldId="5004"/>
            <ac:spMk id="66" creationId="{E2A6A79C-26B6-72D2-CB7C-D62EF6086C01}"/>
          </ac:spMkLst>
        </pc:spChg>
        <pc:spChg chg="mod">
          <ac:chgData name="Jacob, Karen (SPAC/PSPC) (elle-la / she-her)" userId="66e9cce0-e37b-4645-a907-f7690bd68dfb" providerId="ADAL" clId="{871AC57A-6E3B-4D85-BA02-8D6F5065EA89}" dt="2024-06-05T17:57:36.566" v="146"/>
          <ac:spMkLst>
            <pc:docMk/>
            <pc:sldMk cId="1903397118" sldId="5004"/>
            <ac:spMk id="67" creationId="{9FF0906C-2553-435C-B53B-365ADBFFE29A}"/>
          </ac:spMkLst>
        </pc:spChg>
        <pc:spChg chg="mod">
          <ac:chgData name="Jacob, Karen (SPAC/PSPC) (elle-la / she-her)" userId="66e9cce0-e37b-4645-a907-f7690bd68dfb" providerId="ADAL" clId="{871AC57A-6E3B-4D85-BA02-8D6F5065EA89}" dt="2024-06-05T17:57:36.566" v="146"/>
          <ac:spMkLst>
            <pc:docMk/>
            <pc:sldMk cId="1903397118" sldId="5004"/>
            <ac:spMk id="69" creationId="{575B1B8B-94EE-103D-598B-1551532DD666}"/>
          </ac:spMkLst>
        </pc:spChg>
        <pc:spChg chg="mod">
          <ac:chgData name="Jacob, Karen (SPAC/PSPC) (elle-la / she-her)" userId="66e9cce0-e37b-4645-a907-f7690bd68dfb" providerId="ADAL" clId="{871AC57A-6E3B-4D85-BA02-8D6F5065EA89}" dt="2024-06-05T17:57:36.566" v="146"/>
          <ac:spMkLst>
            <pc:docMk/>
            <pc:sldMk cId="1903397118" sldId="5004"/>
            <ac:spMk id="71" creationId="{ACF322E4-AFF5-6CE7-E558-15A5BCDCF297}"/>
          </ac:spMkLst>
        </pc:spChg>
        <pc:spChg chg="mod">
          <ac:chgData name="Jacob, Karen (SPAC/PSPC) (elle-la / she-her)" userId="66e9cce0-e37b-4645-a907-f7690bd68dfb" providerId="ADAL" clId="{871AC57A-6E3B-4D85-BA02-8D6F5065EA89}" dt="2024-06-05T17:57:36.566" v="146"/>
          <ac:spMkLst>
            <pc:docMk/>
            <pc:sldMk cId="1903397118" sldId="5004"/>
            <ac:spMk id="72" creationId="{72877D15-D0F1-3128-5FED-6B9435E8D065}"/>
          </ac:spMkLst>
        </pc:spChg>
        <pc:spChg chg="mod">
          <ac:chgData name="Jacob, Karen (SPAC/PSPC) (elle-la / she-her)" userId="66e9cce0-e37b-4645-a907-f7690bd68dfb" providerId="ADAL" clId="{871AC57A-6E3B-4D85-BA02-8D6F5065EA89}" dt="2024-06-05T17:57:36.566" v="146"/>
          <ac:spMkLst>
            <pc:docMk/>
            <pc:sldMk cId="1903397118" sldId="5004"/>
            <ac:spMk id="73" creationId="{7C042DBA-D648-31BC-07D1-69497904E7E2}"/>
          </ac:spMkLst>
        </pc:spChg>
        <pc:spChg chg="mod">
          <ac:chgData name="Jacob, Karen (SPAC/PSPC) (elle-la / she-her)" userId="66e9cce0-e37b-4645-a907-f7690bd68dfb" providerId="ADAL" clId="{871AC57A-6E3B-4D85-BA02-8D6F5065EA89}" dt="2024-06-05T17:57:36.566" v="146"/>
          <ac:spMkLst>
            <pc:docMk/>
            <pc:sldMk cId="1903397118" sldId="5004"/>
            <ac:spMk id="74" creationId="{9BBD79FA-290C-E47B-D383-136E6EFFFA0A}"/>
          </ac:spMkLst>
        </pc:spChg>
        <pc:spChg chg="mod">
          <ac:chgData name="Jacob, Karen (SPAC/PSPC) (elle-la / she-her)" userId="66e9cce0-e37b-4645-a907-f7690bd68dfb" providerId="ADAL" clId="{871AC57A-6E3B-4D85-BA02-8D6F5065EA89}" dt="2024-06-05T17:57:36.566" v="146"/>
          <ac:spMkLst>
            <pc:docMk/>
            <pc:sldMk cId="1903397118" sldId="5004"/>
            <ac:spMk id="75" creationId="{9C2D97AB-EE6C-5740-A32C-944EE56B0EE6}"/>
          </ac:spMkLst>
        </pc:spChg>
        <pc:spChg chg="mod">
          <ac:chgData name="Jacob, Karen (SPAC/PSPC) (elle-la / she-her)" userId="66e9cce0-e37b-4645-a907-f7690bd68dfb" providerId="ADAL" clId="{871AC57A-6E3B-4D85-BA02-8D6F5065EA89}" dt="2024-06-05T17:57:36.566" v="146"/>
          <ac:spMkLst>
            <pc:docMk/>
            <pc:sldMk cId="1903397118" sldId="5004"/>
            <ac:spMk id="76" creationId="{75CF64C2-E8BD-8544-CDA1-D0F3B921E75B}"/>
          </ac:spMkLst>
        </pc:spChg>
        <pc:spChg chg="mod">
          <ac:chgData name="Jacob, Karen (SPAC/PSPC) (elle-la / she-her)" userId="66e9cce0-e37b-4645-a907-f7690bd68dfb" providerId="ADAL" clId="{871AC57A-6E3B-4D85-BA02-8D6F5065EA89}" dt="2024-06-05T17:57:36.566" v="146"/>
          <ac:spMkLst>
            <pc:docMk/>
            <pc:sldMk cId="1903397118" sldId="5004"/>
            <ac:spMk id="77" creationId="{D50E7F9E-CCC1-ACCF-4734-3BD45782A6A3}"/>
          </ac:spMkLst>
        </pc:spChg>
        <pc:spChg chg="mod">
          <ac:chgData name="Jacob, Karen (SPAC/PSPC) (elle-la / she-her)" userId="66e9cce0-e37b-4645-a907-f7690bd68dfb" providerId="ADAL" clId="{871AC57A-6E3B-4D85-BA02-8D6F5065EA89}" dt="2024-06-05T17:57:36.566" v="146"/>
          <ac:spMkLst>
            <pc:docMk/>
            <pc:sldMk cId="1903397118" sldId="5004"/>
            <ac:spMk id="78" creationId="{DF0E6146-B788-F3EF-688D-BEBDC580AD7B}"/>
          </ac:spMkLst>
        </pc:spChg>
        <pc:spChg chg="mod">
          <ac:chgData name="Jacob, Karen (SPAC/PSPC) (elle-la / she-her)" userId="66e9cce0-e37b-4645-a907-f7690bd68dfb" providerId="ADAL" clId="{871AC57A-6E3B-4D85-BA02-8D6F5065EA89}" dt="2024-06-05T17:57:36.566" v="146"/>
          <ac:spMkLst>
            <pc:docMk/>
            <pc:sldMk cId="1903397118" sldId="5004"/>
            <ac:spMk id="79" creationId="{3F59CD68-7C27-5E84-57FD-8C7742CA5061}"/>
          </ac:spMkLst>
        </pc:spChg>
        <pc:spChg chg="mod">
          <ac:chgData name="Jacob, Karen (SPAC/PSPC) (elle-la / she-her)" userId="66e9cce0-e37b-4645-a907-f7690bd68dfb" providerId="ADAL" clId="{871AC57A-6E3B-4D85-BA02-8D6F5065EA89}" dt="2024-06-05T17:57:36.566" v="146"/>
          <ac:spMkLst>
            <pc:docMk/>
            <pc:sldMk cId="1903397118" sldId="5004"/>
            <ac:spMk id="80" creationId="{25504A52-B235-9040-CBFE-8296B1681ED3}"/>
          </ac:spMkLst>
        </pc:spChg>
        <pc:spChg chg="mod">
          <ac:chgData name="Jacob, Karen (SPAC/PSPC) (elle-la / she-her)" userId="66e9cce0-e37b-4645-a907-f7690bd68dfb" providerId="ADAL" clId="{871AC57A-6E3B-4D85-BA02-8D6F5065EA89}" dt="2024-06-05T17:57:36.566" v="146"/>
          <ac:spMkLst>
            <pc:docMk/>
            <pc:sldMk cId="1903397118" sldId="5004"/>
            <ac:spMk id="81" creationId="{B905BD11-D746-EC78-AC38-88B762F219E9}"/>
          </ac:spMkLst>
        </pc:spChg>
        <pc:spChg chg="mod">
          <ac:chgData name="Jacob, Karen (SPAC/PSPC) (elle-la / she-her)" userId="66e9cce0-e37b-4645-a907-f7690bd68dfb" providerId="ADAL" clId="{871AC57A-6E3B-4D85-BA02-8D6F5065EA89}" dt="2024-06-05T17:57:36.566" v="146"/>
          <ac:spMkLst>
            <pc:docMk/>
            <pc:sldMk cId="1903397118" sldId="5004"/>
            <ac:spMk id="82" creationId="{3ED2532C-3D6E-E7FD-7F1F-0E30734185A2}"/>
          </ac:spMkLst>
        </pc:spChg>
        <pc:spChg chg="mod">
          <ac:chgData name="Jacob, Karen (SPAC/PSPC) (elle-la / she-her)" userId="66e9cce0-e37b-4645-a907-f7690bd68dfb" providerId="ADAL" clId="{871AC57A-6E3B-4D85-BA02-8D6F5065EA89}" dt="2024-06-05T17:57:36.566" v="146"/>
          <ac:spMkLst>
            <pc:docMk/>
            <pc:sldMk cId="1903397118" sldId="5004"/>
            <ac:spMk id="83" creationId="{7F5802B9-B5AD-767F-4947-FA1998C14230}"/>
          </ac:spMkLst>
        </pc:spChg>
        <pc:spChg chg="mod">
          <ac:chgData name="Jacob, Karen (SPAC/PSPC) (elle-la / she-her)" userId="66e9cce0-e37b-4645-a907-f7690bd68dfb" providerId="ADAL" clId="{871AC57A-6E3B-4D85-BA02-8D6F5065EA89}" dt="2024-06-05T17:57:36.566" v="146"/>
          <ac:spMkLst>
            <pc:docMk/>
            <pc:sldMk cId="1903397118" sldId="5004"/>
            <ac:spMk id="84" creationId="{DE840534-41CE-3AFA-8BDD-AD2BABD70574}"/>
          </ac:spMkLst>
        </pc:spChg>
        <pc:spChg chg="mod">
          <ac:chgData name="Jacob, Karen (SPAC/PSPC) (elle-la / she-her)" userId="66e9cce0-e37b-4645-a907-f7690bd68dfb" providerId="ADAL" clId="{871AC57A-6E3B-4D85-BA02-8D6F5065EA89}" dt="2024-06-05T17:57:36.566" v="146"/>
          <ac:spMkLst>
            <pc:docMk/>
            <pc:sldMk cId="1903397118" sldId="5004"/>
            <ac:spMk id="85" creationId="{D27CBB78-F92A-74F1-716D-C29D29C4E2DD}"/>
          </ac:spMkLst>
        </pc:spChg>
        <pc:spChg chg="mod">
          <ac:chgData name="Jacob, Karen (SPAC/PSPC) (elle-la / she-her)" userId="66e9cce0-e37b-4645-a907-f7690bd68dfb" providerId="ADAL" clId="{871AC57A-6E3B-4D85-BA02-8D6F5065EA89}" dt="2024-06-05T17:57:36.566" v="146"/>
          <ac:spMkLst>
            <pc:docMk/>
            <pc:sldMk cId="1903397118" sldId="5004"/>
            <ac:spMk id="86" creationId="{9BCFA881-A5FE-0BF1-FBD9-7D89FE5F7363}"/>
          </ac:spMkLst>
        </pc:spChg>
        <pc:spChg chg="mod">
          <ac:chgData name="Jacob, Karen (SPAC/PSPC) (elle-la / she-her)" userId="66e9cce0-e37b-4645-a907-f7690bd68dfb" providerId="ADAL" clId="{871AC57A-6E3B-4D85-BA02-8D6F5065EA89}" dt="2024-06-05T17:57:36.566" v="146"/>
          <ac:spMkLst>
            <pc:docMk/>
            <pc:sldMk cId="1903397118" sldId="5004"/>
            <ac:spMk id="87" creationId="{C67913CA-FBB6-8E59-3B47-CC752D960E8A}"/>
          </ac:spMkLst>
        </pc:spChg>
        <pc:spChg chg="mod">
          <ac:chgData name="Jacob, Karen (SPAC/PSPC) (elle-la / she-her)" userId="66e9cce0-e37b-4645-a907-f7690bd68dfb" providerId="ADAL" clId="{871AC57A-6E3B-4D85-BA02-8D6F5065EA89}" dt="2024-06-05T17:57:36.566" v="146"/>
          <ac:spMkLst>
            <pc:docMk/>
            <pc:sldMk cId="1903397118" sldId="5004"/>
            <ac:spMk id="88" creationId="{4535D3C3-D201-46BD-517C-9EE96811D02C}"/>
          </ac:spMkLst>
        </pc:spChg>
        <pc:spChg chg="mod">
          <ac:chgData name="Jacob, Karen (SPAC/PSPC) (elle-la / she-her)" userId="66e9cce0-e37b-4645-a907-f7690bd68dfb" providerId="ADAL" clId="{871AC57A-6E3B-4D85-BA02-8D6F5065EA89}" dt="2024-06-05T17:57:36.566" v="146"/>
          <ac:spMkLst>
            <pc:docMk/>
            <pc:sldMk cId="1903397118" sldId="5004"/>
            <ac:spMk id="89" creationId="{6A7C07B4-68D1-A970-B605-24F35BBB35A7}"/>
          </ac:spMkLst>
        </pc:spChg>
        <pc:spChg chg="mod">
          <ac:chgData name="Jacob, Karen (SPAC/PSPC) (elle-la / she-her)" userId="66e9cce0-e37b-4645-a907-f7690bd68dfb" providerId="ADAL" clId="{871AC57A-6E3B-4D85-BA02-8D6F5065EA89}" dt="2024-06-05T17:57:36.566" v="146"/>
          <ac:spMkLst>
            <pc:docMk/>
            <pc:sldMk cId="1903397118" sldId="5004"/>
            <ac:spMk id="90" creationId="{D54D1952-E514-8DDC-7E7E-016D0797C5DA}"/>
          </ac:spMkLst>
        </pc:spChg>
        <pc:spChg chg="mod">
          <ac:chgData name="Jacob, Karen (SPAC/PSPC) (elle-la / she-her)" userId="66e9cce0-e37b-4645-a907-f7690bd68dfb" providerId="ADAL" clId="{871AC57A-6E3B-4D85-BA02-8D6F5065EA89}" dt="2024-06-05T17:57:36.566" v="146"/>
          <ac:spMkLst>
            <pc:docMk/>
            <pc:sldMk cId="1903397118" sldId="5004"/>
            <ac:spMk id="91" creationId="{5B1A05A6-4C75-FB67-F1FA-0477B6C4D8DB}"/>
          </ac:spMkLst>
        </pc:spChg>
        <pc:spChg chg="mod">
          <ac:chgData name="Jacob, Karen (SPAC/PSPC) (elle-la / she-her)" userId="66e9cce0-e37b-4645-a907-f7690bd68dfb" providerId="ADAL" clId="{871AC57A-6E3B-4D85-BA02-8D6F5065EA89}" dt="2024-06-05T17:57:36.566" v="146"/>
          <ac:spMkLst>
            <pc:docMk/>
            <pc:sldMk cId="1903397118" sldId="5004"/>
            <ac:spMk id="92" creationId="{C0247F68-5DEC-9445-26F3-EBB29D59670A}"/>
          </ac:spMkLst>
        </pc:spChg>
        <pc:spChg chg="mod">
          <ac:chgData name="Jacob, Karen (SPAC/PSPC) (elle-la / she-her)" userId="66e9cce0-e37b-4645-a907-f7690bd68dfb" providerId="ADAL" clId="{871AC57A-6E3B-4D85-BA02-8D6F5065EA89}" dt="2024-06-05T17:57:36.566" v="146"/>
          <ac:spMkLst>
            <pc:docMk/>
            <pc:sldMk cId="1903397118" sldId="5004"/>
            <ac:spMk id="93" creationId="{04B7802C-C2B8-F385-73CE-BD6028BC5CD9}"/>
          </ac:spMkLst>
        </pc:spChg>
        <pc:spChg chg="mod">
          <ac:chgData name="Jacob, Karen (SPAC/PSPC) (elle-la / she-her)" userId="66e9cce0-e37b-4645-a907-f7690bd68dfb" providerId="ADAL" clId="{871AC57A-6E3B-4D85-BA02-8D6F5065EA89}" dt="2024-06-05T17:57:36.566" v="146"/>
          <ac:spMkLst>
            <pc:docMk/>
            <pc:sldMk cId="1903397118" sldId="5004"/>
            <ac:spMk id="94" creationId="{AF45B23E-F4F9-8782-7347-DFFFDB4F1D87}"/>
          </ac:spMkLst>
        </pc:spChg>
        <pc:spChg chg="mod">
          <ac:chgData name="Jacob, Karen (SPAC/PSPC) (elle-la / she-her)" userId="66e9cce0-e37b-4645-a907-f7690bd68dfb" providerId="ADAL" clId="{871AC57A-6E3B-4D85-BA02-8D6F5065EA89}" dt="2024-06-05T17:57:36.566" v="146"/>
          <ac:spMkLst>
            <pc:docMk/>
            <pc:sldMk cId="1903397118" sldId="5004"/>
            <ac:spMk id="95" creationId="{C70949E6-BAFB-E76B-2247-74EAE192A0C7}"/>
          </ac:spMkLst>
        </pc:spChg>
        <pc:spChg chg="mod">
          <ac:chgData name="Jacob, Karen (SPAC/PSPC) (elle-la / she-her)" userId="66e9cce0-e37b-4645-a907-f7690bd68dfb" providerId="ADAL" clId="{871AC57A-6E3B-4D85-BA02-8D6F5065EA89}" dt="2024-06-05T17:57:36.566" v="146"/>
          <ac:spMkLst>
            <pc:docMk/>
            <pc:sldMk cId="1903397118" sldId="5004"/>
            <ac:spMk id="96" creationId="{7D6AA9AC-CF31-4BD3-0DEA-3E21ABB8D987}"/>
          </ac:spMkLst>
        </pc:spChg>
        <pc:spChg chg="mod">
          <ac:chgData name="Jacob, Karen (SPAC/PSPC) (elle-la / she-her)" userId="66e9cce0-e37b-4645-a907-f7690bd68dfb" providerId="ADAL" clId="{871AC57A-6E3B-4D85-BA02-8D6F5065EA89}" dt="2024-06-05T17:57:36.566" v="146"/>
          <ac:spMkLst>
            <pc:docMk/>
            <pc:sldMk cId="1903397118" sldId="5004"/>
            <ac:spMk id="97" creationId="{E5DDC2F8-7D3A-5274-47A4-E006F14B8389}"/>
          </ac:spMkLst>
        </pc:spChg>
        <pc:spChg chg="mod">
          <ac:chgData name="Jacob, Karen (SPAC/PSPC) (elle-la / she-her)" userId="66e9cce0-e37b-4645-a907-f7690bd68dfb" providerId="ADAL" clId="{871AC57A-6E3B-4D85-BA02-8D6F5065EA89}" dt="2024-06-05T17:57:36.566" v="146"/>
          <ac:spMkLst>
            <pc:docMk/>
            <pc:sldMk cId="1903397118" sldId="5004"/>
            <ac:spMk id="98" creationId="{39542B28-D6BC-B57B-E969-093A072412B3}"/>
          </ac:spMkLst>
        </pc:spChg>
        <pc:spChg chg="mod">
          <ac:chgData name="Jacob, Karen (SPAC/PSPC) (elle-la / she-her)" userId="66e9cce0-e37b-4645-a907-f7690bd68dfb" providerId="ADAL" clId="{871AC57A-6E3B-4D85-BA02-8D6F5065EA89}" dt="2024-06-05T17:57:36.566" v="146"/>
          <ac:spMkLst>
            <pc:docMk/>
            <pc:sldMk cId="1903397118" sldId="5004"/>
            <ac:spMk id="99" creationId="{E1F5CCAA-C317-B4FA-2BAD-80B7A8CE0347}"/>
          </ac:spMkLst>
        </pc:spChg>
        <pc:spChg chg="mod">
          <ac:chgData name="Jacob, Karen (SPAC/PSPC) (elle-la / she-her)" userId="66e9cce0-e37b-4645-a907-f7690bd68dfb" providerId="ADAL" clId="{871AC57A-6E3B-4D85-BA02-8D6F5065EA89}" dt="2024-06-05T17:57:36.566" v="146"/>
          <ac:spMkLst>
            <pc:docMk/>
            <pc:sldMk cId="1903397118" sldId="5004"/>
            <ac:spMk id="100" creationId="{D8375932-B7F5-10EF-FF44-6FD56C9E84C1}"/>
          </ac:spMkLst>
        </pc:spChg>
        <pc:spChg chg="mod">
          <ac:chgData name="Jacob, Karen (SPAC/PSPC) (elle-la / she-her)" userId="66e9cce0-e37b-4645-a907-f7690bd68dfb" providerId="ADAL" clId="{871AC57A-6E3B-4D85-BA02-8D6F5065EA89}" dt="2024-06-05T17:57:36.566" v="146"/>
          <ac:spMkLst>
            <pc:docMk/>
            <pc:sldMk cId="1903397118" sldId="5004"/>
            <ac:spMk id="101" creationId="{B6326457-A8C1-21CE-0863-BDC8DF179195}"/>
          </ac:spMkLst>
        </pc:spChg>
        <pc:spChg chg="mod">
          <ac:chgData name="Jacob, Karen (SPAC/PSPC) (elle-la / she-her)" userId="66e9cce0-e37b-4645-a907-f7690bd68dfb" providerId="ADAL" clId="{871AC57A-6E3B-4D85-BA02-8D6F5065EA89}" dt="2024-06-05T17:57:36.566" v="146"/>
          <ac:spMkLst>
            <pc:docMk/>
            <pc:sldMk cId="1903397118" sldId="5004"/>
            <ac:spMk id="102" creationId="{7627A84B-4C3A-2E2F-CA75-22E8F7E6D651}"/>
          </ac:spMkLst>
        </pc:spChg>
        <pc:spChg chg="mod">
          <ac:chgData name="Jacob, Karen (SPAC/PSPC) (elle-la / she-her)" userId="66e9cce0-e37b-4645-a907-f7690bd68dfb" providerId="ADAL" clId="{871AC57A-6E3B-4D85-BA02-8D6F5065EA89}" dt="2024-06-05T17:57:36.566" v="146"/>
          <ac:spMkLst>
            <pc:docMk/>
            <pc:sldMk cId="1903397118" sldId="5004"/>
            <ac:spMk id="103" creationId="{390E6BED-766A-7B05-D819-DDDD2C7D0619}"/>
          </ac:spMkLst>
        </pc:spChg>
        <pc:spChg chg="mod">
          <ac:chgData name="Jacob, Karen (SPAC/PSPC) (elle-la / she-her)" userId="66e9cce0-e37b-4645-a907-f7690bd68dfb" providerId="ADAL" clId="{871AC57A-6E3B-4D85-BA02-8D6F5065EA89}" dt="2024-06-05T17:57:36.566" v="146"/>
          <ac:spMkLst>
            <pc:docMk/>
            <pc:sldMk cId="1903397118" sldId="5004"/>
            <ac:spMk id="104" creationId="{7C362A91-DAF2-E156-FE5E-09668778318E}"/>
          </ac:spMkLst>
        </pc:spChg>
        <pc:spChg chg="mod">
          <ac:chgData name="Jacob, Karen (SPAC/PSPC) (elle-la / she-her)" userId="66e9cce0-e37b-4645-a907-f7690bd68dfb" providerId="ADAL" clId="{871AC57A-6E3B-4D85-BA02-8D6F5065EA89}" dt="2024-06-05T17:57:36.566" v="146"/>
          <ac:spMkLst>
            <pc:docMk/>
            <pc:sldMk cId="1903397118" sldId="5004"/>
            <ac:spMk id="105" creationId="{275FAAEF-EC2F-39CA-0B99-D010DC709365}"/>
          </ac:spMkLst>
        </pc:spChg>
        <pc:spChg chg="mod">
          <ac:chgData name="Jacob, Karen (SPAC/PSPC) (elle-la / she-her)" userId="66e9cce0-e37b-4645-a907-f7690bd68dfb" providerId="ADAL" clId="{871AC57A-6E3B-4D85-BA02-8D6F5065EA89}" dt="2024-06-05T17:57:36.566" v="146"/>
          <ac:spMkLst>
            <pc:docMk/>
            <pc:sldMk cId="1903397118" sldId="5004"/>
            <ac:spMk id="106" creationId="{BFB34C78-6602-ADDF-A416-03E6525BE4B4}"/>
          </ac:spMkLst>
        </pc:spChg>
        <pc:spChg chg="mod">
          <ac:chgData name="Jacob, Karen (SPAC/PSPC) (elle-la / she-her)" userId="66e9cce0-e37b-4645-a907-f7690bd68dfb" providerId="ADAL" clId="{871AC57A-6E3B-4D85-BA02-8D6F5065EA89}" dt="2024-06-05T17:57:36.566" v="146"/>
          <ac:spMkLst>
            <pc:docMk/>
            <pc:sldMk cId="1903397118" sldId="5004"/>
            <ac:spMk id="107" creationId="{C41AD9F7-6C74-DE7D-CE84-A481C4577904}"/>
          </ac:spMkLst>
        </pc:spChg>
        <pc:spChg chg="mod">
          <ac:chgData name="Jacob, Karen (SPAC/PSPC) (elle-la / she-her)" userId="66e9cce0-e37b-4645-a907-f7690bd68dfb" providerId="ADAL" clId="{871AC57A-6E3B-4D85-BA02-8D6F5065EA89}" dt="2024-06-05T17:57:36.566" v="146"/>
          <ac:spMkLst>
            <pc:docMk/>
            <pc:sldMk cId="1903397118" sldId="5004"/>
            <ac:spMk id="108" creationId="{8B7FF92F-8C17-DC71-3356-FB860C141D88}"/>
          </ac:spMkLst>
        </pc:spChg>
        <pc:spChg chg="mod">
          <ac:chgData name="Jacob, Karen (SPAC/PSPC) (elle-la / she-her)" userId="66e9cce0-e37b-4645-a907-f7690bd68dfb" providerId="ADAL" clId="{871AC57A-6E3B-4D85-BA02-8D6F5065EA89}" dt="2024-06-05T17:57:36.566" v="146"/>
          <ac:spMkLst>
            <pc:docMk/>
            <pc:sldMk cId="1903397118" sldId="5004"/>
            <ac:spMk id="109" creationId="{06641B49-5F93-3D8C-ECBF-8A2BA5BE3E5F}"/>
          </ac:spMkLst>
        </pc:spChg>
        <pc:spChg chg="mod">
          <ac:chgData name="Jacob, Karen (SPAC/PSPC) (elle-la / she-her)" userId="66e9cce0-e37b-4645-a907-f7690bd68dfb" providerId="ADAL" clId="{871AC57A-6E3B-4D85-BA02-8D6F5065EA89}" dt="2024-06-05T17:57:36.566" v="146"/>
          <ac:spMkLst>
            <pc:docMk/>
            <pc:sldMk cId="1903397118" sldId="5004"/>
            <ac:spMk id="110" creationId="{6B7C3E0A-ED8D-90F6-EFF9-3E4D8E02C5D2}"/>
          </ac:spMkLst>
        </pc:spChg>
        <pc:spChg chg="mod">
          <ac:chgData name="Jacob, Karen (SPAC/PSPC) (elle-la / she-her)" userId="66e9cce0-e37b-4645-a907-f7690bd68dfb" providerId="ADAL" clId="{871AC57A-6E3B-4D85-BA02-8D6F5065EA89}" dt="2024-06-05T17:57:36.566" v="146"/>
          <ac:spMkLst>
            <pc:docMk/>
            <pc:sldMk cId="1903397118" sldId="5004"/>
            <ac:spMk id="111" creationId="{AB8D2D30-9CA4-07D4-4ECB-0A522C36A802}"/>
          </ac:spMkLst>
        </pc:spChg>
        <pc:spChg chg="mod">
          <ac:chgData name="Jacob, Karen (SPAC/PSPC) (elle-la / she-her)" userId="66e9cce0-e37b-4645-a907-f7690bd68dfb" providerId="ADAL" clId="{871AC57A-6E3B-4D85-BA02-8D6F5065EA89}" dt="2024-06-05T17:57:36.566" v="146"/>
          <ac:spMkLst>
            <pc:docMk/>
            <pc:sldMk cId="1903397118" sldId="5004"/>
            <ac:spMk id="113" creationId="{7E1FB284-5CAB-6000-8D82-8F380A4663B8}"/>
          </ac:spMkLst>
        </pc:spChg>
        <pc:spChg chg="mod">
          <ac:chgData name="Jacob, Karen (SPAC/PSPC) (elle-la / she-her)" userId="66e9cce0-e37b-4645-a907-f7690bd68dfb" providerId="ADAL" clId="{871AC57A-6E3B-4D85-BA02-8D6F5065EA89}" dt="2024-06-05T17:57:36.566" v="146"/>
          <ac:spMkLst>
            <pc:docMk/>
            <pc:sldMk cId="1903397118" sldId="5004"/>
            <ac:spMk id="116" creationId="{5E49051C-3DBE-A209-15D8-3261A96A342F}"/>
          </ac:spMkLst>
        </pc:spChg>
        <pc:spChg chg="mod">
          <ac:chgData name="Jacob, Karen (SPAC/PSPC) (elle-la / she-her)" userId="66e9cce0-e37b-4645-a907-f7690bd68dfb" providerId="ADAL" clId="{871AC57A-6E3B-4D85-BA02-8D6F5065EA89}" dt="2024-06-05T17:57:36.566" v="146"/>
          <ac:spMkLst>
            <pc:docMk/>
            <pc:sldMk cId="1903397118" sldId="5004"/>
            <ac:spMk id="118" creationId="{619168B9-D91B-4565-A6D0-B467A4625071}"/>
          </ac:spMkLst>
        </pc:spChg>
        <pc:spChg chg="mod">
          <ac:chgData name="Jacob, Karen (SPAC/PSPC) (elle-la / she-her)" userId="66e9cce0-e37b-4645-a907-f7690bd68dfb" providerId="ADAL" clId="{871AC57A-6E3B-4D85-BA02-8D6F5065EA89}" dt="2024-06-05T17:57:36.566" v="146"/>
          <ac:spMkLst>
            <pc:docMk/>
            <pc:sldMk cId="1903397118" sldId="5004"/>
            <ac:spMk id="119" creationId="{703EEBD4-314F-411A-F42A-C38CB39F16B1}"/>
          </ac:spMkLst>
        </pc:spChg>
        <pc:spChg chg="mod">
          <ac:chgData name="Jacob, Karen (SPAC/PSPC) (elle-la / she-her)" userId="66e9cce0-e37b-4645-a907-f7690bd68dfb" providerId="ADAL" clId="{871AC57A-6E3B-4D85-BA02-8D6F5065EA89}" dt="2024-06-05T17:57:36.566" v="146"/>
          <ac:spMkLst>
            <pc:docMk/>
            <pc:sldMk cId="1903397118" sldId="5004"/>
            <ac:spMk id="121" creationId="{3D82D8B4-E0D5-E32B-463D-450D744FA29B}"/>
          </ac:spMkLst>
        </pc:spChg>
        <pc:spChg chg="mod">
          <ac:chgData name="Jacob, Karen (SPAC/PSPC) (elle-la / she-her)" userId="66e9cce0-e37b-4645-a907-f7690bd68dfb" providerId="ADAL" clId="{871AC57A-6E3B-4D85-BA02-8D6F5065EA89}" dt="2024-06-05T17:57:36.566" v="146"/>
          <ac:spMkLst>
            <pc:docMk/>
            <pc:sldMk cId="1903397118" sldId="5004"/>
            <ac:spMk id="122" creationId="{81656138-CEA5-6938-278E-BAC1B65AA7DF}"/>
          </ac:spMkLst>
        </pc:spChg>
        <pc:spChg chg="mod">
          <ac:chgData name="Jacob, Karen (SPAC/PSPC) (elle-la / she-her)" userId="66e9cce0-e37b-4645-a907-f7690bd68dfb" providerId="ADAL" clId="{871AC57A-6E3B-4D85-BA02-8D6F5065EA89}" dt="2024-06-05T17:57:36.566" v="146"/>
          <ac:spMkLst>
            <pc:docMk/>
            <pc:sldMk cId="1903397118" sldId="5004"/>
            <ac:spMk id="123" creationId="{97AB0333-DE57-69D1-77D6-2E3306E629D6}"/>
          </ac:spMkLst>
        </pc:spChg>
        <pc:spChg chg="mod">
          <ac:chgData name="Jacob, Karen (SPAC/PSPC) (elle-la / she-her)" userId="66e9cce0-e37b-4645-a907-f7690bd68dfb" providerId="ADAL" clId="{871AC57A-6E3B-4D85-BA02-8D6F5065EA89}" dt="2024-06-05T17:57:36.566" v="146"/>
          <ac:spMkLst>
            <pc:docMk/>
            <pc:sldMk cId="1903397118" sldId="5004"/>
            <ac:spMk id="124" creationId="{976B6E8E-8416-071B-A5F0-0EAD1B0AFDA1}"/>
          </ac:spMkLst>
        </pc:spChg>
        <pc:spChg chg="mod">
          <ac:chgData name="Jacob, Karen (SPAC/PSPC) (elle-la / she-her)" userId="66e9cce0-e37b-4645-a907-f7690bd68dfb" providerId="ADAL" clId="{871AC57A-6E3B-4D85-BA02-8D6F5065EA89}" dt="2024-06-05T17:57:36.566" v="146"/>
          <ac:spMkLst>
            <pc:docMk/>
            <pc:sldMk cId="1903397118" sldId="5004"/>
            <ac:spMk id="125" creationId="{02CDC2B3-EFE7-22CB-AE70-C073F5A7A022}"/>
          </ac:spMkLst>
        </pc:spChg>
        <pc:spChg chg="mod">
          <ac:chgData name="Jacob, Karen (SPAC/PSPC) (elle-la / she-her)" userId="66e9cce0-e37b-4645-a907-f7690bd68dfb" providerId="ADAL" clId="{871AC57A-6E3B-4D85-BA02-8D6F5065EA89}" dt="2024-06-05T17:57:36.566" v="146"/>
          <ac:spMkLst>
            <pc:docMk/>
            <pc:sldMk cId="1903397118" sldId="5004"/>
            <ac:spMk id="126" creationId="{F4C4D0F6-AF28-EA73-D670-6D34C86CD72E}"/>
          </ac:spMkLst>
        </pc:spChg>
        <pc:spChg chg="mod">
          <ac:chgData name="Jacob, Karen (SPAC/PSPC) (elle-la / she-her)" userId="66e9cce0-e37b-4645-a907-f7690bd68dfb" providerId="ADAL" clId="{871AC57A-6E3B-4D85-BA02-8D6F5065EA89}" dt="2024-06-05T17:57:36.566" v="146"/>
          <ac:spMkLst>
            <pc:docMk/>
            <pc:sldMk cId="1903397118" sldId="5004"/>
            <ac:spMk id="127" creationId="{304B0CBC-B3D2-8258-F5EF-863CD14B8859}"/>
          </ac:spMkLst>
        </pc:spChg>
        <pc:spChg chg="mod">
          <ac:chgData name="Jacob, Karen (SPAC/PSPC) (elle-la / she-her)" userId="66e9cce0-e37b-4645-a907-f7690bd68dfb" providerId="ADAL" clId="{871AC57A-6E3B-4D85-BA02-8D6F5065EA89}" dt="2024-06-05T17:57:36.566" v="146"/>
          <ac:spMkLst>
            <pc:docMk/>
            <pc:sldMk cId="1903397118" sldId="5004"/>
            <ac:spMk id="128" creationId="{BDB47304-D15A-8B0A-F8AE-0C3FF7ED408E}"/>
          </ac:spMkLst>
        </pc:spChg>
        <pc:spChg chg="mod">
          <ac:chgData name="Jacob, Karen (SPAC/PSPC) (elle-la / she-her)" userId="66e9cce0-e37b-4645-a907-f7690bd68dfb" providerId="ADAL" clId="{871AC57A-6E3B-4D85-BA02-8D6F5065EA89}" dt="2024-06-05T17:57:36.566" v="146"/>
          <ac:spMkLst>
            <pc:docMk/>
            <pc:sldMk cId="1903397118" sldId="5004"/>
            <ac:spMk id="129" creationId="{39118BA1-D270-DED6-EA03-C2852EBDFE1A}"/>
          </ac:spMkLst>
        </pc:spChg>
        <pc:spChg chg="mod">
          <ac:chgData name="Jacob, Karen (SPAC/PSPC) (elle-la / she-her)" userId="66e9cce0-e37b-4645-a907-f7690bd68dfb" providerId="ADAL" clId="{871AC57A-6E3B-4D85-BA02-8D6F5065EA89}" dt="2024-06-05T17:57:36.566" v="146"/>
          <ac:spMkLst>
            <pc:docMk/>
            <pc:sldMk cId="1903397118" sldId="5004"/>
            <ac:spMk id="130" creationId="{8143C546-709B-8D1B-FF7C-E3300FB6718E}"/>
          </ac:spMkLst>
        </pc:spChg>
        <pc:spChg chg="mod">
          <ac:chgData name="Jacob, Karen (SPAC/PSPC) (elle-la / she-her)" userId="66e9cce0-e37b-4645-a907-f7690bd68dfb" providerId="ADAL" clId="{871AC57A-6E3B-4D85-BA02-8D6F5065EA89}" dt="2024-06-05T17:57:36.566" v="146"/>
          <ac:spMkLst>
            <pc:docMk/>
            <pc:sldMk cId="1903397118" sldId="5004"/>
            <ac:spMk id="131" creationId="{3BBF554A-A643-52B0-6054-CE4CEB52BE0C}"/>
          </ac:spMkLst>
        </pc:spChg>
        <pc:spChg chg="mod">
          <ac:chgData name="Jacob, Karen (SPAC/PSPC) (elle-la / she-her)" userId="66e9cce0-e37b-4645-a907-f7690bd68dfb" providerId="ADAL" clId="{871AC57A-6E3B-4D85-BA02-8D6F5065EA89}" dt="2024-06-05T17:57:36.566" v="146"/>
          <ac:spMkLst>
            <pc:docMk/>
            <pc:sldMk cId="1903397118" sldId="5004"/>
            <ac:spMk id="132" creationId="{ADCFDB89-E7BA-1315-2107-B43BC008377F}"/>
          </ac:spMkLst>
        </pc:spChg>
        <pc:spChg chg="mod">
          <ac:chgData name="Jacob, Karen (SPAC/PSPC) (elle-la / she-her)" userId="66e9cce0-e37b-4645-a907-f7690bd68dfb" providerId="ADAL" clId="{871AC57A-6E3B-4D85-BA02-8D6F5065EA89}" dt="2024-06-05T17:57:36.566" v="146"/>
          <ac:spMkLst>
            <pc:docMk/>
            <pc:sldMk cId="1903397118" sldId="5004"/>
            <ac:spMk id="133" creationId="{692D97E4-F06A-B45E-E354-57F677935D66}"/>
          </ac:spMkLst>
        </pc:spChg>
        <pc:spChg chg="mod">
          <ac:chgData name="Jacob, Karen (SPAC/PSPC) (elle-la / she-her)" userId="66e9cce0-e37b-4645-a907-f7690bd68dfb" providerId="ADAL" clId="{871AC57A-6E3B-4D85-BA02-8D6F5065EA89}" dt="2024-06-05T17:57:36.566" v="146"/>
          <ac:spMkLst>
            <pc:docMk/>
            <pc:sldMk cId="1903397118" sldId="5004"/>
            <ac:spMk id="134" creationId="{44B5ACEE-2A34-D095-025E-D566286E7218}"/>
          </ac:spMkLst>
        </pc:spChg>
        <pc:spChg chg="mod">
          <ac:chgData name="Jacob, Karen (SPAC/PSPC) (elle-la / she-her)" userId="66e9cce0-e37b-4645-a907-f7690bd68dfb" providerId="ADAL" clId="{871AC57A-6E3B-4D85-BA02-8D6F5065EA89}" dt="2024-06-05T17:57:36.566" v="146"/>
          <ac:spMkLst>
            <pc:docMk/>
            <pc:sldMk cId="1903397118" sldId="5004"/>
            <ac:spMk id="135" creationId="{D5CC99BA-ACBD-1E10-FFF5-FDB5A8953BEF}"/>
          </ac:spMkLst>
        </pc:spChg>
        <pc:spChg chg="mod">
          <ac:chgData name="Jacob, Karen (SPAC/PSPC) (elle-la / she-her)" userId="66e9cce0-e37b-4645-a907-f7690bd68dfb" providerId="ADAL" clId="{871AC57A-6E3B-4D85-BA02-8D6F5065EA89}" dt="2024-06-05T17:57:36.566" v="146"/>
          <ac:spMkLst>
            <pc:docMk/>
            <pc:sldMk cId="1903397118" sldId="5004"/>
            <ac:spMk id="136" creationId="{BF90E114-1A91-9096-082A-FA91D56B74AC}"/>
          </ac:spMkLst>
        </pc:spChg>
        <pc:spChg chg="mod">
          <ac:chgData name="Jacob, Karen (SPAC/PSPC) (elle-la / she-her)" userId="66e9cce0-e37b-4645-a907-f7690bd68dfb" providerId="ADAL" clId="{871AC57A-6E3B-4D85-BA02-8D6F5065EA89}" dt="2024-06-05T17:57:36.566" v="146"/>
          <ac:spMkLst>
            <pc:docMk/>
            <pc:sldMk cId="1903397118" sldId="5004"/>
            <ac:spMk id="137" creationId="{CE4417DD-2581-A673-D5E3-2EC1C8978BE7}"/>
          </ac:spMkLst>
        </pc:spChg>
        <pc:spChg chg="mod">
          <ac:chgData name="Jacob, Karen (SPAC/PSPC) (elle-la / she-her)" userId="66e9cce0-e37b-4645-a907-f7690bd68dfb" providerId="ADAL" clId="{871AC57A-6E3B-4D85-BA02-8D6F5065EA89}" dt="2024-06-05T17:57:36.566" v="146"/>
          <ac:spMkLst>
            <pc:docMk/>
            <pc:sldMk cId="1903397118" sldId="5004"/>
            <ac:spMk id="138" creationId="{9E2FB841-9615-B8A8-263B-CE7F1B2E7E46}"/>
          </ac:spMkLst>
        </pc:spChg>
        <pc:spChg chg="mod">
          <ac:chgData name="Jacob, Karen (SPAC/PSPC) (elle-la / she-her)" userId="66e9cce0-e37b-4645-a907-f7690bd68dfb" providerId="ADAL" clId="{871AC57A-6E3B-4D85-BA02-8D6F5065EA89}" dt="2024-06-05T17:57:36.566" v="146"/>
          <ac:spMkLst>
            <pc:docMk/>
            <pc:sldMk cId="1903397118" sldId="5004"/>
            <ac:spMk id="139" creationId="{432C5A6F-0996-7DB8-C53B-244F8EFCDE6D}"/>
          </ac:spMkLst>
        </pc:spChg>
        <pc:spChg chg="mod">
          <ac:chgData name="Jacob, Karen (SPAC/PSPC) (elle-la / she-her)" userId="66e9cce0-e37b-4645-a907-f7690bd68dfb" providerId="ADAL" clId="{871AC57A-6E3B-4D85-BA02-8D6F5065EA89}" dt="2024-06-05T17:57:36.566" v="146"/>
          <ac:spMkLst>
            <pc:docMk/>
            <pc:sldMk cId="1903397118" sldId="5004"/>
            <ac:spMk id="140" creationId="{C0AB91AC-5726-7F25-51CC-43BF286632B5}"/>
          </ac:spMkLst>
        </pc:spChg>
        <pc:spChg chg="mod">
          <ac:chgData name="Jacob, Karen (SPAC/PSPC) (elle-la / she-her)" userId="66e9cce0-e37b-4645-a907-f7690bd68dfb" providerId="ADAL" clId="{871AC57A-6E3B-4D85-BA02-8D6F5065EA89}" dt="2024-06-05T17:57:36.566" v="146"/>
          <ac:spMkLst>
            <pc:docMk/>
            <pc:sldMk cId="1903397118" sldId="5004"/>
            <ac:spMk id="141" creationId="{D36EB7B7-219C-866E-7C23-EF5E0FA31AE5}"/>
          </ac:spMkLst>
        </pc:spChg>
        <pc:spChg chg="mod">
          <ac:chgData name="Jacob, Karen (SPAC/PSPC) (elle-la / she-her)" userId="66e9cce0-e37b-4645-a907-f7690bd68dfb" providerId="ADAL" clId="{871AC57A-6E3B-4D85-BA02-8D6F5065EA89}" dt="2024-06-05T17:57:36.566" v="146"/>
          <ac:spMkLst>
            <pc:docMk/>
            <pc:sldMk cId="1903397118" sldId="5004"/>
            <ac:spMk id="142" creationId="{00432ADF-3DAA-219F-6936-B47243318D25}"/>
          </ac:spMkLst>
        </pc:spChg>
        <pc:spChg chg="mod">
          <ac:chgData name="Jacob, Karen (SPAC/PSPC) (elle-la / she-her)" userId="66e9cce0-e37b-4645-a907-f7690bd68dfb" providerId="ADAL" clId="{871AC57A-6E3B-4D85-BA02-8D6F5065EA89}" dt="2024-06-05T17:57:36.566" v="146"/>
          <ac:spMkLst>
            <pc:docMk/>
            <pc:sldMk cId="1903397118" sldId="5004"/>
            <ac:spMk id="143" creationId="{FBA5B74F-2BB8-AEFB-D86C-FE5CA76C371D}"/>
          </ac:spMkLst>
        </pc:spChg>
        <pc:spChg chg="mod">
          <ac:chgData name="Jacob, Karen (SPAC/PSPC) (elle-la / she-her)" userId="66e9cce0-e37b-4645-a907-f7690bd68dfb" providerId="ADAL" clId="{871AC57A-6E3B-4D85-BA02-8D6F5065EA89}" dt="2024-06-05T17:57:36.566" v="146"/>
          <ac:spMkLst>
            <pc:docMk/>
            <pc:sldMk cId="1903397118" sldId="5004"/>
            <ac:spMk id="144" creationId="{C61D99D4-A2F9-F7FA-98C7-3EE33D25D337}"/>
          </ac:spMkLst>
        </pc:spChg>
        <pc:spChg chg="mod">
          <ac:chgData name="Jacob, Karen (SPAC/PSPC) (elle-la / she-her)" userId="66e9cce0-e37b-4645-a907-f7690bd68dfb" providerId="ADAL" clId="{871AC57A-6E3B-4D85-BA02-8D6F5065EA89}" dt="2024-06-05T17:57:36.566" v="146"/>
          <ac:spMkLst>
            <pc:docMk/>
            <pc:sldMk cId="1903397118" sldId="5004"/>
            <ac:spMk id="145" creationId="{B874A8D0-8BB8-4134-8A86-5D3E34EBEEE0}"/>
          </ac:spMkLst>
        </pc:spChg>
        <pc:spChg chg="mod">
          <ac:chgData name="Jacob, Karen (SPAC/PSPC) (elle-la / she-her)" userId="66e9cce0-e37b-4645-a907-f7690bd68dfb" providerId="ADAL" clId="{871AC57A-6E3B-4D85-BA02-8D6F5065EA89}" dt="2024-06-05T17:57:36.566" v="146"/>
          <ac:spMkLst>
            <pc:docMk/>
            <pc:sldMk cId="1903397118" sldId="5004"/>
            <ac:spMk id="146" creationId="{555B335C-0AE6-626B-4444-F6DC3D4CC7F2}"/>
          </ac:spMkLst>
        </pc:spChg>
        <pc:spChg chg="mod">
          <ac:chgData name="Jacob, Karen (SPAC/PSPC) (elle-la / she-her)" userId="66e9cce0-e37b-4645-a907-f7690bd68dfb" providerId="ADAL" clId="{871AC57A-6E3B-4D85-BA02-8D6F5065EA89}" dt="2024-06-05T17:57:36.566" v="146"/>
          <ac:spMkLst>
            <pc:docMk/>
            <pc:sldMk cId="1903397118" sldId="5004"/>
            <ac:spMk id="147" creationId="{0110F9CB-6AA4-546E-E404-B38C9EC4C921}"/>
          </ac:spMkLst>
        </pc:spChg>
        <pc:spChg chg="mod">
          <ac:chgData name="Jacob, Karen (SPAC/PSPC) (elle-la / she-her)" userId="66e9cce0-e37b-4645-a907-f7690bd68dfb" providerId="ADAL" clId="{871AC57A-6E3B-4D85-BA02-8D6F5065EA89}" dt="2024-06-05T17:57:36.566" v="146"/>
          <ac:spMkLst>
            <pc:docMk/>
            <pc:sldMk cId="1903397118" sldId="5004"/>
            <ac:spMk id="148" creationId="{F1946410-D221-D0C7-928F-DA8508A84536}"/>
          </ac:spMkLst>
        </pc:spChg>
        <pc:spChg chg="mod">
          <ac:chgData name="Jacob, Karen (SPAC/PSPC) (elle-la / she-her)" userId="66e9cce0-e37b-4645-a907-f7690bd68dfb" providerId="ADAL" clId="{871AC57A-6E3B-4D85-BA02-8D6F5065EA89}" dt="2024-06-05T17:57:36.566" v="146"/>
          <ac:spMkLst>
            <pc:docMk/>
            <pc:sldMk cId="1903397118" sldId="5004"/>
            <ac:spMk id="149" creationId="{DA924EFA-DA6C-4E31-850B-A52B324C49E4}"/>
          </ac:spMkLst>
        </pc:spChg>
        <pc:spChg chg="mod">
          <ac:chgData name="Jacob, Karen (SPAC/PSPC) (elle-la / she-her)" userId="66e9cce0-e37b-4645-a907-f7690bd68dfb" providerId="ADAL" clId="{871AC57A-6E3B-4D85-BA02-8D6F5065EA89}" dt="2024-06-05T17:57:36.566" v="146"/>
          <ac:spMkLst>
            <pc:docMk/>
            <pc:sldMk cId="1903397118" sldId="5004"/>
            <ac:spMk id="150" creationId="{34D5BFB0-EF66-4088-B8A0-CD5C3E6C4482}"/>
          </ac:spMkLst>
        </pc:spChg>
        <pc:spChg chg="mod">
          <ac:chgData name="Jacob, Karen (SPAC/PSPC) (elle-la / she-her)" userId="66e9cce0-e37b-4645-a907-f7690bd68dfb" providerId="ADAL" clId="{871AC57A-6E3B-4D85-BA02-8D6F5065EA89}" dt="2024-06-05T17:57:36.566" v="146"/>
          <ac:spMkLst>
            <pc:docMk/>
            <pc:sldMk cId="1903397118" sldId="5004"/>
            <ac:spMk id="151" creationId="{4735D640-CEB8-72CF-2670-D90A8A75F9F3}"/>
          </ac:spMkLst>
        </pc:spChg>
        <pc:spChg chg="mod">
          <ac:chgData name="Jacob, Karen (SPAC/PSPC) (elle-la / she-her)" userId="66e9cce0-e37b-4645-a907-f7690bd68dfb" providerId="ADAL" clId="{871AC57A-6E3B-4D85-BA02-8D6F5065EA89}" dt="2024-06-05T17:57:36.566" v="146"/>
          <ac:spMkLst>
            <pc:docMk/>
            <pc:sldMk cId="1903397118" sldId="5004"/>
            <ac:spMk id="152" creationId="{684DAB29-21CF-C621-FB3A-6D86BA3CE689}"/>
          </ac:spMkLst>
        </pc:spChg>
        <pc:spChg chg="mod">
          <ac:chgData name="Jacob, Karen (SPAC/PSPC) (elle-la / she-her)" userId="66e9cce0-e37b-4645-a907-f7690bd68dfb" providerId="ADAL" clId="{871AC57A-6E3B-4D85-BA02-8D6F5065EA89}" dt="2024-06-05T17:57:36.566" v="146"/>
          <ac:spMkLst>
            <pc:docMk/>
            <pc:sldMk cId="1903397118" sldId="5004"/>
            <ac:spMk id="153" creationId="{4B1EC1A5-EA0F-A783-A927-19FF7F836E4F}"/>
          </ac:spMkLst>
        </pc:spChg>
        <pc:spChg chg="mod">
          <ac:chgData name="Jacob, Karen (SPAC/PSPC) (elle-la / she-her)" userId="66e9cce0-e37b-4645-a907-f7690bd68dfb" providerId="ADAL" clId="{871AC57A-6E3B-4D85-BA02-8D6F5065EA89}" dt="2024-06-05T17:57:36.566" v="146"/>
          <ac:spMkLst>
            <pc:docMk/>
            <pc:sldMk cId="1903397118" sldId="5004"/>
            <ac:spMk id="154" creationId="{D6E239E8-6F5B-2823-E189-0D7ADB6B7337}"/>
          </ac:spMkLst>
        </pc:spChg>
        <pc:spChg chg="mod">
          <ac:chgData name="Jacob, Karen (SPAC/PSPC) (elle-la / she-her)" userId="66e9cce0-e37b-4645-a907-f7690bd68dfb" providerId="ADAL" clId="{871AC57A-6E3B-4D85-BA02-8D6F5065EA89}" dt="2024-06-05T17:57:36.566" v="146"/>
          <ac:spMkLst>
            <pc:docMk/>
            <pc:sldMk cId="1903397118" sldId="5004"/>
            <ac:spMk id="155" creationId="{5E5D856C-ECE3-1997-E3AF-AF93C1BAF944}"/>
          </ac:spMkLst>
        </pc:spChg>
        <pc:spChg chg="mod">
          <ac:chgData name="Jacob, Karen (SPAC/PSPC) (elle-la / she-her)" userId="66e9cce0-e37b-4645-a907-f7690bd68dfb" providerId="ADAL" clId="{871AC57A-6E3B-4D85-BA02-8D6F5065EA89}" dt="2024-06-05T17:57:36.566" v="146"/>
          <ac:spMkLst>
            <pc:docMk/>
            <pc:sldMk cId="1903397118" sldId="5004"/>
            <ac:spMk id="156" creationId="{88A571E4-BB04-1CF8-9084-07217D7E9A96}"/>
          </ac:spMkLst>
        </pc:spChg>
        <pc:spChg chg="mod">
          <ac:chgData name="Jacob, Karen (SPAC/PSPC) (elle-la / she-her)" userId="66e9cce0-e37b-4645-a907-f7690bd68dfb" providerId="ADAL" clId="{871AC57A-6E3B-4D85-BA02-8D6F5065EA89}" dt="2024-06-05T17:57:36.566" v="146"/>
          <ac:spMkLst>
            <pc:docMk/>
            <pc:sldMk cId="1903397118" sldId="5004"/>
            <ac:spMk id="157" creationId="{8B6C933E-86FE-5316-0121-71E3042D87F3}"/>
          </ac:spMkLst>
        </pc:spChg>
        <pc:spChg chg="mod">
          <ac:chgData name="Jacob, Karen (SPAC/PSPC) (elle-la / she-her)" userId="66e9cce0-e37b-4645-a907-f7690bd68dfb" providerId="ADAL" clId="{871AC57A-6E3B-4D85-BA02-8D6F5065EA89}" dt="2024-06-05T17:57:36.566" v="146"/>
          <ac:spMkLst>
            <pc:docMk/>
            <pc:sldMk cId="1903397118" sldId="5004"/>
            <ac:spMk id="158" creationId="{00587F10-6853-DB94-7D89-F24EA90E56C9}"/>
          </ac:spMkLst>
        </pc:spChg>
        <pc:spChg chg="mod">
          <ac:chgData name="Jacob, Karen (SPAC/PSPC) (elle-la / she-her)" userId="66e9cce0-e37b-4645-a907-f7690bd68dfb" providerId="ADAL" clId="{871AC57A-6E3B-4D85-BA02-8D6F5065EA89}" dt="2024-06-05T17:57:36.566" v="146"/>
          <ac:spMkLst>
            <pc:docMk/>
            <pc:sldMk cId="1903397118" sldId="5004"/>
            <ac:spMk id="159" creationId="{98001638-4E30-ADDB-39E8-6FD9D2B74F5E}"/>
          </ac:spMkLst>
        </pc:spChg>
        <pc:spChg chg="mod">
          <ac:chgData name="Jacob, Karen (SPAC/PSPC) (elle-la / she-her)" userId="66e9cce0-e37b-4645-a907-f7690bd68dfb" providerId="ADAL" clId="{871AC57A-6E3B-4D85-BA02-8D6F5065EA89}" dt="2024-06-05T17:57:36.566" v="146"/>
          <ac:spMkLst>
            <pc:docMk/>
            <pc:sldMk cId="1903397118" sldId="5004"/>
            <ac:spMk id="160" creationId="{524FBC6F-008B-47BD-9B40-B183785B9167}"/>
          </ac:spMkLst>
        </pc:spChg>
        <pc:spChg chg="mod">
          <ac:chgData name="Jacob, Karen (SPAC/PSPC) (elle-la / she-her)" userId="66e9cce0-e37b-4645-a907-f7690bd68dfb" providerId="ADAL" clId="{871AC57A-6E3B-4D85-BA02-8D6F5065EA89}" dt="2024-06-05T17:57:36.566" v="146"/>
          <ac:spMkLst>
            <pc:docMk/>
            <pc:sldMk cId="1903397118" sldId="5004"/>
            <ac:spMk id="161" creationId="{426CE642-F77A-F89F-EFB5-548035F9162E}"/>
          </ac:spMkLst>
        </pc:spChg>
        <pc:spChg chg="mod">
          <ac:chgData name="Jacob, Karen (SPAC/PSPC) (elle-la / she-her)" userId="66e9cce0-e37b-4645-a907-f7690bd68dfb" providerId="ADAL" clId="{871AC57A-6E3B-4D85-BA02-8D6F5065EA89}" dt="2024-06-05T17:57:36.566" v="146"/>
          <ac:spMkLst>
            <pc:docMk/>
            <pc:sldMk cId="1903397118" sldId="5004"/>
            <ac:spMk id="162" creationId="{AB964056-44BD-ECF4-A236-2BFEEBEFF8A0}"/>
          </ac:spMkLst>
        </pc:spChg>
        <pc:spChg chg="add mod">
          <ac:chgData name="Jacob, Karen (SPAC/PSPC) (elle-la / she-her)" userId="66e9cce0-e37b-4645-a907-f7690bd68dfb" providerId="ADAL" clId="{871AC57A-6E3B-4D85-BA02-8D6F5065EA89}" dt="2024-06-05T17:57:36.566" v="146"/>
          <ac:spMkLst>
            <pc:docMk/>
            <pc:sldMk cId="1903397118" sldId="5004"/>
            <ac:spMk id="163" creationId="{49C12D4A-1C1B-A87B-839F-6D065985BAA0}"/>
          </ac:spMkLst>
        </pc:spChg>
        <pc:spChg chg="add mod">
          <ac:chgData name="Jacob, Karen (SPAC/PSPC) (elle-la / she-her)" userId="66e9cce0-e37b-4645-a907-f7690bd68dfb" providerId="ADAL" clId="{871AC57A-6E3B-4D85-BA02-8D6F5065EA89}" dt="2024-06-05T17:57:36.566" v="146"/>
          <ac:spMkLst>
            <pc:docMk/>
            <pc:sldMk cId="1903397118" sldId="5004"/>
            <ac:spMk id="164" creationId="{569A64ED-1470-7E05-808F-FE272E8E92EA}"/>
          </ac:spMkLst>
        </pc:spChg>
        <pc:spChg chg="mod">
          <ac:chgData name="Jacob, Karen (SPAC/PSPC) (elle-la / she-her)" userId="66e9cce0-e37b-4645-a907-f7690bd68dfb" providerId="ADAL" clId="{871AC57A-6E3B-4D85-BA02-8D6F5065EA89}" dt="2024-06-05T17:57:36.566" v="146"/>
          <ac:spMkLst>
            <pc:docMk/>
            <pc:sldMk cId="1903397118" sldId="5004"/>
            <ac:spMk id="166" creationId="{97EBCFEC-23C4-1282-3DE6-72F7D50BC431}"/>
          </ac:spMkLst>
        </pc:spChg>
        <pc:spChg chg="mod">
          <ac:chgData name="Jacob, Karen (SPAC/PSPC) (elle-la / she-her)" userId="66e9cce0-e37b-4645-a907-f7690bd68dfb" providerId="ADAL" clId="{871AC57A-6E3B-4D85-BA02-8D6F5065EA89}" dt="2024-06-05T17:57:36.566" v="146"/>
          <ac:spMkLst>
            <pc:docMk/>
            <pc:sldMk cId="1903397118" sldId="5004"/>
            <ac:spMk id="182" creationId="{D03630E6-5860-9B19-4514-6646A4415746}"/>
          </ac:spMkLst>
        </pc:spChg>
        <pc:spChg chg="mod">
          <ac:chgData name="Jacob, Karen (SPAC/PSPC) (elle-la / she-her)" userId="66e9cce0-e37b-4645-a907-f7690bd68dfb" providerId="ADAL" clId="{871AC57A-6E3B-4D85-BA02-8D6F5065EA89}" dt="2024-06-05T17:57:36.566" v="146"/>
          <ac:spMkLst>
            <pc:docMk/>
            <pc:sldMk cId="1903397118" sldId="5004"/>
            <ac:spMk id="183" creationId="{7FBAE34B-42CF-9F08-A2BD-C0ABC37692C8}"/>
          </ac:spMkLst>
        </pc:spChg>
        <pc:spChg chg="mod">
          <ac:chgData name="Jacob, Karen (SPAC/PSPC) (elle-la / she-her)" userId="66e9cce0-e37b-4645-a907-f7690bd68dfb" providerId="ADAL" clId="{871AC57A-6E3B-4D85-BA02-8D6F5065EA89}" dt="2024-06-05T17:57:36.566" v="146"/>
          <ac:spMkLst>
            <pc:docMk/>
            <pc:sldMk cId="1903397118" sldId="5004"/>
            <ac:spMk id="184" creationId="{0C604831-3DB7-953A-FA15-FD7426CE8960}"/>
          </ac:spMkLst>
        </pc:spChg>
        <pc:spChg chg="mod">
          <ac:chgData name="Jacob, Karen (SPAC/PSPC) (elle-la / she-her)" userId="66e9cce0-e37b-4645-a907-f7690bd68dfb" providerId="ADAL" clId="{871AC57A-6E3B-4D85-BA02-8D6F5065EA89}" dt="2024-06-05T17:57:36.566" v="146"/>
          <ac:spMkLst>
            <pc:docMk/>
            <pc:sldMk cId="1903397118" sldId="5004"/>
            <ac:spMk id="185" creationId="{EE26C301-1421-BFC9-DCD2-69A7CCAF6142}"/>
          </ac:spMkLst>
        </pc:spChg>
        <pc:spChg chg="mod">
          <ac:chgData name="Jacob, Karen (SPAC/PSPC) (elle-la / she-her)" userId="66e9cce0-e37b-4645-a907-f7690bd68dfb" providerId="ADAL" clId="{871AC57A-6E3B-4D85-BA02-8D6F5065EA89}" dt="2024-06-05T17:57:36.566" v="146"/>
          <ac:spMkLst>
            <pc:docMk/>
            <pc:sldMk cId="1903397118" sldId="5004"/>
            <ac:spMk id="186" creationId="{7131908F-6D78-19A4-2B53-48D91F8D0B81}"/>
          </ac:spMkLst>
        </pc:spChg>
        <pc:spChg chg="mod">
          <ac:chgData name="Jacob, Karen (SPAC/PSPC) (elle-la / she-her)" userId="66e9cce0-e37b-4645-a907-f7690bd68dfb" providerId="ADAL" clId="{871AC57A-6E3B-4D85-BA02-8D6F5065EA89}" dt="2024-06-05T17:57:36.566" v="146"/>
          <ac:spMkLst>
            <pc:docMk/>
            <pc:sldMk cId="1903397118" sldId="5004"/>
            <ac:spMk id="188" creationId="{28FC64A9-04F5-39CB-0A9E-1F9F830E1C0E}"/>
          </ac:spMkLst>
        </pc:spChg>
        <pc:spChg chg="mod">
          <ac:chgData name="Jacob, Karen (SPAC/PSPC) (elle-la / she-her)" userId="66e9cce0-e37b-4645-a907-f7690bd68dfb" providerId="ADAL" clId="{871AC57A-6E3B-4D85-BA02-8D6F5065EA89}" dt="2024-06-05T17:57:36.566" v="146"/>
          <ac:spMkLst>
            <pc:docMk/>
            <pc:sldMk cId="1903397118" sldId="5004"/>
            <ac:spMk id="190" creationId="{BCFF0F95-C8EB-6968-2A1E-70844EB64048}"/>
          </ac:spMkLst>
        </pc:spChg>
        <pc:spChg chg="mod">
          <ac:chgData name="Jacob, Karen (SPAC/PSPC) (elle-la / she-her)" userId="66e9cce0-e37b-4645-a907-f7690bd68dfb" providerId="ADAL" clId="{871AC57A-6E3B-4D85-BA02-8D6F5065EA89}" dt="2024-06-05T17:57:36.566" v="146"/>
          <ac:spMkLst>
            <pc:docMk/>
            <pc:sldMk cId="1903397118" sldId="5004"/>
            <ac:spMk id="191" creationId="{116394D7-B56C-A4AB-A65B-AD2AADB188CF}"/>
          </ac:spMkLst>
        </pc:spChg>
        <pc:spChg chg="mod">
          <ac:chgData name="Jacob, Karen (SPAC/PSPC) (elle-la / she-her)" userId="66e9cce0-e37b-4645-a907-f7690bd68dfb" providerId="ADAL" clId="{871AC57A-6E3B-4D85-BA02-8D6F5065EA89}" dt="2024-06-05T17:57:36.566" v="146"/>
          <ac:spMkLst>
            <pc:docMk/>
            <pc:sldMk cId="1903397118" sldId="5004"/>
            <ac:spMk id="192" creationId="{5137756C-0593-4917-049A-F51EB311C4B8}"/>
          </ac:spMkLst>
        </pc:spChg>
        <pc:spChg chg="mod">
          <ac:chgData name="Jacob, Karen (SPAC/PSPC) (elle-la / she-her)" userId="66e9cce0-e37b-4645-a907-f7690bd68dfb" providerId="ADAL" clId="{871AC57A-6E3B-4D85-BA02-8D6F5065EA89}" dt="2024-06-05T17:57:36.566" v="146"/>
          <ac:spMkLst>
            <pc:docMk/>
            <pc:sldMk cId="1903397118" sldId="5004"/>
            <ac:spMk id="193" creationId="{D01044A5-8215-1282-35C8-439B9022DB95}"/>
          </ac:spMkLst>
        </pc:spChg>
        <pc:spChg chg="mod">
          <ac:chgData name="Jacob, Karen (SPAC/PSPC) (elle-la / she-her)" userId="66e9cce0-e37b-4645-a907-f7690bd68dfb" providerId="ADAL" clId="{871AC57A-6E3B-4D85-BA02-8D6F5065EA89}" dt="2024-06-05T17:57:36.566" v="146"/>
          <ac:spMkLst>
            <pc:docMk/>
            <pc:sldMk cId="1903397118" sldId="5004"/>
            <ac:spMk id="194" creationId="{496B4B36-BEA8-07E4-C57A-447F9837AEC9}"/>
          </ac:spMkLst>
        </pc:spChg>
        <pc:spChg chg="mod">
          <ac:chgData name="Jacob, Karen (SPAC/PSPC) (elle-la / she-her)" userId="66e9cce0-e37b-4645-a907-f7690bd68dfb" providerId="ADAL" clId="{871AC57A-6E3B-4D85-BA02-8D6F5065EA89}" dt="2024-06-05T17:57:36.566" v="146"/>
          <ac:spMkLst>
            <pc:docMk/>
            <pc:sldMk cId="1903397118" sldId="5004"/>
            <ac:spMk id="195" creationId="{7FAA6CD0-C276-9747-6CFB-09092A8A29EE}"/>
          </ac:spMkLst>
        </pc:spChg>
        <pc:spChg chg="mod">
          <ac:chgData name="Jacob, Karen (SPAC/PSPC) (elle-la / she-her)" userId="66e9cce0-e37b-4645-a907-f7690bd68dfb" providerId="ADAL" clId="{871AC57A-6E3B-4D85-BA02-8D6F5065EA89}" dt="2024-06-05T17:57:36.566" v="146"/>
          <ac:spMkLst>
            <pc:docMk/>
            <pc:sldMk cId="1903397118" sldId="5004"/>
            <ac:spMk id="196" creationId="{E48157ED-1C5F-CD99-91BB-80AD63BB2F47}"/>
          </ac:spMkLst>
        </pc:spChg>
        <pc:spChg chg="mod">
          <ac:chgData name="Jacob, Karen (SPAC/PSPC) (elle-la / she-her)" userId="66e9cce0-e37b-4645-a907-f7690bd68dfb" providerId="ADAL" clId="{871AC57A-6E3B-4D85-BA02-8D6F5065EA89}" dt="2024-06-05T17:57:36.566" v="146"/>
          <ac:spMkLst>
            <pc:docMk/>
            <pc:sldMk cId="1903397118" sldId="5004"/>
            <ac:spMk id="197" creationId="{ACA82F8D-9A7F-1F6B-FE36-8E6A97CA10CB}"/>
          </ac:spMkLst>
        </pc:spChg>
        <pc:spChg chg="mod">
          <ac:chgData name="Jacob, Karen (SPAC/PSPC) (elle-la / she-her)" userId="66e9cce0-e37b-4645-a907-f7690bd68dfb" providerId="ADAL" clId="{871AC57A-6E3B-4D85-BA02-8D6F5065EA89}" dt="2024-06-05T17:57:36.566" v="146"/>
          <ac:spMkLst>
            <pc:docMk/>
            <pc:sldMk cId="1903397118" sldId="5004"/>
            <ac:spMk id="198" creationId="{72FDFDBD-F928-F189-C4C4-30F4F61F5965}"/>
          </ac:spMkLst>
        </pc:spChg>
        <pc:spChg chg="mod">
          <ac:chgData name="Jacob, Karen (SPAC/PSPC) (elle-la / she-her)" userId="66e9cce0-e37b-4645-a907-f7690bd68dfb" providerId="ADAL" clId="{871AC57A-6E3B-4D85-BA02-8D6F5065EA89}" dt="2024-06-05T17:57:36.566" v="146"/>
          <ac:spMkLst>
            <pc:docMk/>
            <pc:sldMk cId="1903397118" sldId="5004"/>
            <ac:spMk id="199" creationId="{45A7637F-5A9B-C9CF-3895-FDED23B92646}"/>
          </ac:spMkLst>
        </pc:spChg>
        <pc:spChg chg="mod">
          <ac:chgData name="Jacob, Karen (SPAC/PSPC) (elle-la / she-her)" userId="66e9cce0-e37b-4645-a907-f7690bd68dfb" providerId="ADAL" clId="{871AC57A-6E3B-4D85-BA02-8D6F5065EA89}" dt="2024-06-05T17:57:36.566" v="146"/>
          <ac:spMkLst>
            <pc:docMk/>
            <pc:sldMk cId="1903397118" sldId="5004"/>
            <ac:spMk id="200" creationId="{9574C423-922B-E834-944C-72F26D86BA93}"/>
          </ac:spMkLst>
        </pc:spChg>
        <pc:spChg chg="mod">
          <ac:chgData name="Jacob, Karen (SPAC/PSPC) (elle-la / she-her)" userId="66e9cce0-e37b-4645-a907-f7690bd68dfb" providerId="ADAL" clId="{871AC57A-6E3B-4D85-BA02-8D6F5065EA89}" dt="2024-06-05T17:57:36.566" v="146"/>
          <ac:spMkLst>
            <pc:docMk/>
            <pc:sldMk cId="1903397118" sldId="5004"/>
            <ac:spMk id="201" creationId="{511774EC-EB4B-C365-213D-3F7EBD47A0A0}"/>
          </ac:spMkLst>
        </pc:spChg>
        <pc:spChg chg="mod">
          <ac:chgData name="Jacob, Karen (SPAC/PSPC) (elle-la / she-her)" userId="66e9cce0-e37b-4645-a907-f7690bd68dfb" providerId="ADAL" clId="{871AC57A-6E3B-4D85-BA02-8D6F5065EA89}" dt="2024-06-05T17:57:36.566" v="146"/>
          <ac:spMkLst>
            <pc:docMk/>
            <pc:sldMk cId="1903397118" sldId="5004"/>
            <ac:spMk id="202" creationId="{81E8EE4E-1D2E-AEE4-4E9A-098AE940E95A}"/>
          </ac:spMkLst>
        </pc:spChg>
        <pc:spChg chg="mod">
          <ac:chgData name="Jacob, Karen (SPAC/PSPC) (elle-la / she-her)" userId="66e9cce0-e37b-4645-a907-f7690bd68dfb" providerId="ADAL" clId="{871AC57A-6E3B-4D85-BA02-8D6F5065EA89}" dt="2024-06-05T17:57:36.566" v="146"/>
          <ac:spMkLst>
            <pc:docMk/>
            <pc:sldMk cId="1903397118" sldId="5004"/>
            <ac:spMk id="203" creationId="{4DA3DFA0-5D3E-C187-C2EF-B510C5A31DF1}"/>
          </ac:spMkLst>
        </pc:spChg>
        <pc:spChg chg="mod">
          <ac:chgData name="Jacob, Karen (SPAC/PSPC) (elle-la / she-her)" userId="66e9cce0-e37b-4645-a907-f7690bd68dfb" providerId="ADAL" clId="{871AC57A-6E3B-4D85-BA02-8D6F5065EA89}" dt="2024-06-05T17:57:36.566" v="146"/>
          <ac:spMkLst>
            <pc:docMk/>
            <pc:sldMk cId="1903397118" sldId="5004"/>
            <ac:spMk id="204" creationId="{D06DED7F-CFAC-45F4-9C9D-C42FBB5A32F3}"/>
          </ac:spMkLst>
        </pc:spChg>
        <pc:spChg chg="mod">
          <ac:chgData name="Jacob, Karen (SPAC/PSPC) (elle-la / she-her)" userId="66e9cce0-e37b-4645-a907-f7690bd68dfb" providerId="ADAL" clId="{871AC57A-6E3B-4D85-BA02-8D6F5065EA89}" dt="2024-06-05T17:57:36.566" v="146"/>
          <ac:spMkLst>
            <pc:docMk/>
            <pc:sldMk cId="1903397118" sldId="5004"/>
            <ac:spMk id="205" creationId="{0479A56B-720E-2969-3A5C-55E41B1C847D}"/>
          </ac:spMkLst>
        </pc:spChg>
        <pc:spChg chg="mod">
          <ac:chgData name="Jacob, Karen (SPAC/PSPC) (elle-la / she-her)" userId="66e9cce0-e37b-4645-a907-f7690bd68dfb" providerId="ADAL" clId="{871AC57A-6E3B-4D85-BA02-8D6F5065EA89}" dt="2024-06-05T17:57:36.566" v="146"/>
          <ac:spMkLst>
            <pc:docMk/>
            <pc:sldMk cId="1903397118" sldId="5004"/>
            <ac:spMk id="206" creationId="{EB69AE57-915C-2857-B5A2-2D99EEFAA2A8}"/>
          </ac:spMkLst>
        </pc:spChg>
        <pc:spChg chg="mod">
          <ac:chgData name="Jacob, Karen (SPAC/PSPC) (elle-la / she-her)" userId="66e9cce0-e37b-4645-a907-f7690bd68dfb" providerId="ADAL" clId="{871AC57A-6E3B-4D85-BA02-8D6F5065EA89}" dt="2024-06-05T17:57:36.566" v="146"/>
          <ac:spMkLst>
            <pc:docMk/>
            <pc:sldMk cId="1903397118" sldId="5004"/>
            <ac:spMk id="207" creationId="{6746BF7C-320F-F8E6-634E-A2C1B8018A58}"/>
          </ac:spMkLst>
        </pc:spChg>
        <pc:spChg chg="mod">
          <ac:chgData name="Jacob, Karen (SPAC/PSPC) (elle-la / she-her)" userId="66e9cce0-e37b-4645-a907-f7690bd68dfb" providerId="ADAL" clId="{871AC57A-6E3B-4D85-BA02-8D6F5065EA89}" dt="2024-06-05T17:57:36.566" v="146"/>
          <ac:spMkLst>
            <pc:docMk/>
            <pc:sldMk cId="1903397118" sldId="5004"/>
            <ac:spMk id="208" creationId="{11A87170-0810-A434-BE17-B4F48AC51419}"/>
          </ac:spMkLst>
        </pc:spChg>
        <pc:spChg chg="mod">
          <ac:chgData name="Jacob, Karen (SPAC/PSPC) (elle-la / she-her)" userId="66e9cce0-e37b-4645-a907-f7690bd68dfb" providerId="ADAL" clId="{871AC57A-6E3B-4D85-BA02-8D6F5065EA89}" dt="2024-06-05T17:57:36.566" v="146"/>
          <ac:spMkLst>
            <pc:docMk/>
            <pc:sldMk cId="1903397118" sldId="5004"/>
            <ac:spMk id="209" creationId="{7CF28395-3297-379E-4331-5EB077F9739B}"/>
          </ac:spMkLst>
        </pc:spChg>
        <pc:spChg chg="mod">
          <ac:chgData name="Jacob, Karen (SPAC/PSPC) (elle-la / she-her)" userId="66e9cce0-e37b-4645-a907-f7690bd68dfb" providerId="ADAL" clId="{871AC57A-6E3B-4D85-BA02-8D6F5065EA89}" dt="2024-06-05T17:57:36.566" v="146"/>
          <ac:spMkLst>
            <pc:docMk/>
            <pc:sldMk cId="1903397118" sldId="5004"/>
            <ac:spMk id="210" creationId="{C944714E-C0D8-68E5-0ABA-386158F19EC0}"/>
          </ac:spMkLst>
        </pc:spChg>
        <pc:spChg chg="mod">
          <ac:chgData name="Jacob, Karen (SPAC/PSPC) (elle-la / she-her)" userId="66e9cce0-e37b-4645-a907-f7690bd68dfb" providerId="ADAL" clId="{871AC57A-6E3B-4D85-BA02-8D6F5065EA89}" dt="2024-06-05T17:57:36.566" v="146"/>
          <ac:spMkLst>
            <pc:docMk/>
            <pc:sldMk cId="1903397118" sldId="5004"/>
            <ac:spMk id="211" creationId="{A8B4FE8D-9EC7-5DDE-783A-7DA9592F31BB}"/>
          </ac:spMkLst>
        </pc:spChg>
        <pc:spChg chg="mod">
          <ac:chgData name="Jacob, Karen (SPAC/PSPC) (elle-la / she-her)" userId="66e9cce0-e37b-4645-a907-f7690bd68dfb" providerId="ADAL" clId="{871AC57A-6E3B-4D85-BA02-8D6F5065EA89}" dt="2024-06-05T17:57:36.566" v="146"/>
          <ac:spMkLst>
            <pc:docMk/>
            <pc:sldMk cId="1903397118" sldId="5004"/>
            <ac:spMk id="212" creationId="{BCB83B0D-9E7E-CE30-550F-F64E0531EB1D}"/>
          </ac:spMkLst>
        </pc:spChg>
        <pc:spChg chg="mod">
          <ac:chgData name="Jacob, Karen (SPAC/PSPC) (elle-la / she-her)" userId="66e9cce0-e37b-4645-a907-f7690bd68dfb" providerId="ADAL" clId="{871AC57A-6E3B-4D85-BA02-8D6F5065EA89}" dt="2024-06-05T17:57:36.566" v="146"/>
          <ac:spMkLst>
            <pc:docMk/>
            <pc:sldMk cId="1903397118" sldId="5004"/>
            <ac:spMk id="213" creationId="{B32A0301-ABC4-88E5-7AE3-E750724940AA}"/>
          </ac:spMkLst>
        </pc:spChg>
        <pc:spChg chg="mod">
          <ac:chgData name="Jacob, Karen (SPAC/PSPC) (elle-la / she-her)" userId="66e9cce0-e37b-4645-a907-f7690bd68dfb" providerId="ADAL" clId="{871AC57A-6E3B-4D85-BA02-8D6F5065EA89}" dt="2024-06-05T17:57:36.566" v="146"/>
          <ac:spMkLst>
            <pc:docMk/>
            <pc:sldMk cId="1903397118" sldId="5004"/>
            <ac:spMk id="214" creationId="{6E11AE8F-D3B9-6256-58E1-8434807ED11D}"/>
          </ac:spMkLst>
        </pc:spChg>
        <pc:spChg chg="mod">
          <ac:chgData name="Jacob, Karen (SPAC/PSPC) (elle-la / she-her)" userId="66e9cce0-e37b-4645-a907-f7690bd68dfb" providerId="ADAL" clId="{871AC57A-6E3B-4D85-BA02-8D6F5065EA89}" dt="2024-06-05T17:57:36.566" v="146"/>
          <ac:spMkLst>
            <pc:docMk/>
            <pc:sldMk cId="1903397118" sldId="5004"/>
            <ac:spMk id="215" creationId="{5D15B532-17B2-925A-0BEF-8D6F87510321}"/>
          </ac:spMkLst>
        </pc:spChg>
        <pc:spChg chg="mod">
          <ac:chgData name="Jacob, Karen (SPAC/PSPC) (elle-la / she-her)" userId="66e9cce0-e37b-4645-a907-f7690bd68dfb" providerId="ADAL" clId="{871AC57A-6E3B-4D85-BA02-8D6F5065EA89}" dt="2024-06-05T17:57:36.566" v="146"/>
          <ac:spMkLst>
            <pc:docMk/>
            <pc:sldMk cId="1903397118" sldId="5004"/>
            <ac:spMk id="216" creationId="{C697ACE2-EB21-5199-2283-B92D5A067F84}"/>
          </ac:spMkLst>
        </pc:spChg>
        <pc:spChg chg="mod">
          <ac:chgData name="Jacob, Karen (SPAC/PSPC) (elle-la / she-her)" userId="66e9cce0-e37b-4645-a907-f7690bd68dfb" providerId="ADAL" clId="{871AC57A-6E3B-4D85-BA02-8D6F5065EA89}" dt="2024-06-05T17:57:36.566" v="146"/>
          <ac:spMkLst>
            <pc:docMk/>
            <pc:sldMk cId="1903397118" sldId="5004"/>
            <ac:spMk id="217" creationId="{81EE365E-25FD-0D74-BA43-4D83913C1A16}"/>
          </ac:spMkLst>
        </pc:spChg>
        <pc:spChg chg="mod">
          <ac:chgData name="Jacob, Karen (SPAC/PSPC) (elle-la / she-her)" userId="66e9cce0-e37b-4645-a907-f7690bd68dfb" providerId="ADAL" clId="{871AC57A-6E3B-4D85-BA02-8D6F5065EA89}" dt="2024-06-05T17:57:36.566" v="146"/>
          <ac:spMkLst>
            <pc:docMk/>
            <pc:sldMk cId="1903397118" sldId="5004"/>
            <ac:spMk id="218" creationId="{338BD2A5-9923-3CDF-4A79-1457A1B8F951}"/>
          </ac:spMkLst>
        </pc:spChg>
        <pc:spChg chg="mod">
          <ac:chgData name="Jacob, Karen (SPAC/PSPC) (elle-la / she-her)" userId="66e9cce0-e37b-4645-a907-f7690bd68dfb" providerId="ADAL" clId="{871AC57A-6E3B-4D85-BA02-8D6F5065EA89}" dt="2024-06-05T17:57:36.566" v="146"/>
          <ac:spMkLst>
            <pc:docMk/>
            <pc:sldMk cId="1903397118" sldId="5004"/>
            <ac:spMk id="219" creationId="{25955621-67B4-DA55-513A-CF5F66C4BE28}"/>
          </ac:spMkLst>
        </pc:spChg>
        <pc:spChg chg="mod">
          <ac:chgData name="Jacob, Karen (SPAC/PSPC) (elle-la / she-her)" userId="66e9cce0-e37b-4645-a907-f7690bd68dfb" providerId="ADAL" clId="{871AC57A-6E3B-4D85-BA02-8D6F5065EA89}" dt="2024-06-05T17:57:36.566" v="146"/>
          <ac:spMkLst>
            <pc:docMk/>
            <pc:sldMk cId="1903397118" sldId="5004"/>
            <ac:spMk id="220" creationId="{2DDEB810-C06A-CD1C-C173-582B532813CA}"/>
          </ac:spMkLst>
        </pc:spChg>
        <pc:spChg chg="mod">
          <ac:chgData name="Jacob, Karen (SPAC/PSPC) (elle-la / she-her)" userId="66e9cce0-e37b-4645-a907-f7690bd68dfb" providerId="ADAL" clId="{871AC57A-6E3B-4D85-BA02-8D6F5065EA89}" dt="2024-06-05T17:57:36.566" v="146"/>
          <ac:spMkLst>
            <pc:docMk/>
            <pc:sldMk cId="1903397118" sldId="5004"/>
            <ac:spMk id="221" creationId="{729A8228-C4FC-FC70-0833-CB47041C66B2}"/>
          </ac:spMkLst>
        </pc:spChg>
        <pc:spChg chg="mod">
          <ac:chgData name="Jacob, Karen (SPAC/PSPC) (elle-la / she-her)" userId="66e9cce0-e37b-4645-a907-f7690bd68dfb" providerId="ADAL" clId="{871AC57A-6E3B-4D85-BA02-8D6F5065EA89}" dt="2024-06-05T17:57:36.566" v="146"/>
          <ac:spMkLst>
            <pc:docMk/>
            <pc:sldMk cId="1903397118" sldId="5004"/>
            <ac:spMk id="222" creationId="{B4900FB7-A806-3DCA-4A3F-8F5C42643C1B}"/>
          </ac:spMkLst>
        </pc:spChg>
        <pc:spChg chg="mod">
          <ac:chgData name="Jacob, Karen (SPAC/PSPC) (elle-la / she-her)" userId="66e9cce0-e37b-4645-a907-f7690bd68dfb" providerId="ADAL" clId="{871AC57A-6E3B-4D85-BA02-8D6F5065EA89}" dt="2024-06-05T17:57:36.566" v="146"/>
          <ac:spMkLst>
            <pc:docMk/>
            <pc:sldMk cId="1903397118" sldId="5004"/>
            <ac:spMk id="223" creationId="{84E0FCE5-8C2B-11FE-8F6F-EEADAA49FDC7}"/>
          </ac:spMkLst>
        </pc:spChg>
        <pc:spChg chg="mod">
          <ac:chgData name="Jacob, Karen (SPAC/PSPC) (elle-la / she-her)" userId="66e9cce0-e37b-4645-a907-f7690bd68dfb" providerId="ADAL" clId="{871AC57A-6E3B-4D85-BA02-8D6F5065EA89}" dt="2024-06-05T17:57:36.566" v="146"/>
          <ac:spMkLst>
            <pc:docMk/>
            <pc:sldMk cId="1903397118" sldId="5004"/>
            <ac:spMk id="224" creationId="{3D0585BB-4507-23AD-DCFD-7A392400407E}"/>
          </ac:spMkLst>
        </pc:spChg>
        <pc:spChg chg="mod">
          <ac:chgData name="Jacob, Karen (SPAC/PSPC) (elle-la / she-her)" userId="66e9cce0-e37b-4645-a907-f7690bd68dfb" providerId="ADAL" clId="{871AC57A-6E3B-4D85-BA02-8D6F5065EA89}" dt="2024-06-05T17:57:36.566" v="146"/>
          <ac:spMkLst>
            <pc:docMk/>
            <pc:sldMk cId="1903397118" sldId="5004"/>
            <ac:spMk id="225" creationId="{9054FA7E-0E64-F5B3-976D-C007EC1A33DC}"/>
          </ac:spMkLst>
        </pc:spChg>
        <pc:spChg chg="mod">
          <ac:chgData name="Jacob, Karen (SPAC/PSPC) (elle-la / she-her)" userId="66e9cce0-e37b-4645-a907-f7690bd68dfb" providerId="ADAL" clId="{871AC57A-6E3B-4D85-BA02-8D6F5065EA89}" dt="2024-06-05T17:57:36.566" v="146"/>
          <ac:spMkLst>
            <pc:docMk/>
            <pc:sldMk cId="1903397118" sldId="5004"/>
            <ac:spMk id="226" creationId="{253B7713-F553-BB74-85AD-CF8F156ED88F}"/>
          </ac:spMkLst>
        </pc:spChg>
        <pc:spChg chg="mod">
          <ac:chgData name="Jacob, Karen (SPAC/PSPC) (elle-la / she-her)" userId="66e9cce0-e37b-4645-a907-f7690bd68dfb" providerId="ADAL" clId="{871AC57A-6E3B-4D85-BA02-8D6F5065EA89}" dt="2024-06-05T17:57:36.566" v="146"/>
          <ac:spMkLst>
            <pc:docMk/>
            <pc:sldMk cId="1903397118" sldId="5004"/>
            <ac:spMk id="227" creationId="{6592E00A-B9C0-A16D-C1FF-C9F648DD632C}"/>
          </ac:spMkLst>
        </pc:spChg>
        <pc:spChg chg="mod">
          <ac:chgData name="Jacob, Karen (SPAC/PSPC) (elle-la / she-her)" userId="66e9cce0-e37b-4645-a907-f7690bd68dfb" providerId="ADAL" clId="{871AC57A-6E3B-4D85-BA02-8D6F5065EA89}" dt="2024-06-05T17:57:36.566" v="146"/>
          <ac:spMkLst>
            <pc:docMk/>
            <pc:sldMk cId="1903397118" sldId="5004"/>
            <ac:spMk id="228" creationId="{F72913B9-01CC-302A-C4F2-673178CB87BC}"/>
          </ac:spMkLst>
        </pc:spChg>
        <pc:spChg chg="mod">
          <ac:chgData name="Jacob, Karen (SPAC/PSPC) (elle-la / she-her)" userId="66e9cce0-e37b-4645-a907-f7690bd68dfb" providerId="ADAL" clId="{871AC57A-6E3B-4D85-BA02-8D6F5065EA89}" dt="2024-06-05T17:57:36.566" v="146"/>
          <ac:spMkLst>
            <pc:docMk/>
            <pc:sldMk cId="1903397118" sldId="5004"/>
            <ac:spMk id="229" creationId="{BA561EA7-EFEE-46B6-6EC6-5D8173A65A10}"/>
          </ac:spMkLst>
        </pc:spChg>
        <pc:spChg chg="mod">
          <ac:chgData name="Jacob, Karen (SPAC/PSPC) (elle-la / she-her)" userId="66e9cce0-e37b-4645-a907-f7690bd68dfb" providerId="ADAL" clId="{871AC57A-6E3B-4D85-BA02-8D6F5065EA89}" dt="2024-06-05T17:57:36.566" v="146"/>
          <ac:spMkLst>
            <pc:docMk/>
            <pc:sldMk cId="1903397118" sldId="5004"/>
            <ac:spMk id="231" creationId="{46886C11-D078-2740-7191-0CC49110ACD7}"/>
          </ac:spMkLst>
        </pc:spChg>
        <pc:spChg chg="mod">
          <ac:chgData name="Jacob, Karen (SPAC/PSPC) (elle-la / she-her)" userId="66e9cce0-e37b-4645-a907-f7690bd68dfb" providerId="ADAL" clId="{871AC57A-6E3B-4D85-BA02-8D6F5065EA89}" dt="2024-06-05T17:57:36.566" v="146"/>
          <ac:spMkLst>
            <pc:docMk/>
            <pc:sldMk cId="1903397118" sldId="5004"/>
            <ac:spMk id="233" creationId="{998A78C6-3390-5690-5D0D-AC82154497BC}"/>
          </ac:spMkLst>
        </pc:spChg>
        <pc:spChg chg="mod">
          <ac:chgData name="Jacob, Karen (SPAC/PSPC) (elle-la / she-her)" userId="66e9cce0-e37b-4645-a907-f7690bd68dfb" providerId="ADAL" clId="{871AC57A-6E3B-4D85-BA02-8D6F5065EA89}" dt="2024-06-05T17:57:36.566" v="146"/>
          <ac:spMkLst>
            <pc:docMk/>
            <pc:sldMk cId="1903397118" sldId="5004"/>
            <ac:spMk id="234" creationId="{D8FDB64A-4005-A7DB-0A45-99B3EBCE29A3}"/>
          </ac:spMkLst>
        </pc:spChg>
        <pc:spChg chg="mod">
          <ac:chgData name="Jacob, Karen (SPAC/PSPC) (elle-la / she-her)" userId="66e9cce0-e37b-4645-a907-f7690bd68dfb" providerId="ADAL" clId="{871AC57A-6E3B-4D85-BA02-8D6F5065EA89}" dt="2024-06-05T17:57:36.566" v="146"/>
          <ac:spMkLst>
            <pc:docMk/>
            <pc:sldMk cId="1903397118" sldId="5004"/>
            <ac:spMk id="235" creationId="{A9D009A7-BC0E-2CC0-EF5E-9055E611F07B}"/>
          </ac:spMkLst>
        </pc:spChg>
        <pc:spChg chg="mod">
          <ac:chgData name="Jacob, Karen (SPAC/PSPC) (elle-la / she-her)" userId="66e9cce0-e37b-4645-a907-f7690bd68dfb" providerId="ADAL" clId="{871AC57A-6E3B-4D85-BA02-8D6F5065EA89}" dt="2024-06-05T17:57:36.566" v="146"/>
          <ac:spMkLst>
            <pc:docMk/>
            <pc:sldMk cId="1903397118" sldId="5004"/>
            <ac:spMk id="236" creationId="{F54824DC-D23C-9F60-6AD7-CF596193C069}"/>
          </ac:spMkLst>
        </pc:spChg>
        <pc:spChg chg="mod">
          <ac:chgData name="Jacob, Karen (SPAC/PSPC) (elle-la / she-her)" userId="66e9cce0-e37b-4645-a907-f7690bd68dfb" providerId="ADAL" clId="{871AC57A-6E3B-4D85-BA02-8D6F5065EA89}" dt="2024-06-05T17:57:36.566" v="146"/>
          <ac:spMkLst>
            <pc:docMk/>
            <pc:sldMk cId="1903397118" sldId="5004"/>
            <ac:spMk id="237" creationId="{7105EC09-3E8C-D532-B527-0B3B5CB91BDC}"/>
          </ac:spMkLst>
        </pc:spChg>
        <pc:spChg chg="mod">
          <ac:chgData name="Jacob, Karen (SPAC/PSPC) (elle-la / she-her)" userId="66e9cce0-e37b-4645-a907-f7690bd68dfb" providerId="ADAL" clId="{871AC57A-6E3B-4D85-BA02-8D6F5065EA89}" dt="2024-06-05T17:57:36.566" v="146"/>
          <ac:spMkLst>
            <pc:docMk/>
            <pc:sldMk cId="1903397118" sldId="5004"/>
            <ac:spMk id="238" creationId="{EE6F7566-9821-FB79-7642-A1B0946082F3}"/>
          </ac:spMkLst>
        </pc:spChg>
        <pc:spChg chg="mod">
          <ac:chgData name="Jacob, Karen (SPAC/PSPC) (elle-la / she-her)" userId="66e9cce0-e37b-4645-a907-f7690bd68dfb" providerId="ADAL" clId="{871AC57A-6E3B-4D85-BA02-8D6F5065EA89}" dt="2024-06-05T17:57:36.566" v="146"/>
          <ac:spMkLst>
            <pc:docMk/>
            <pc:sldMk cId="1903397118" sldId="5004"/>
            <ac:spMk id="239" creationId="{6B985762-DA35-86C8-7537-FD718A242BF2}"/>
          </ac:spMkLst>
        </pc:spChg>
        <pc:spChg chg="mod">
          <ac:chgData name="Jacob, Karen (SPAC/PSPC) (elle-la / she-her)" userId="66e9cce0-e37b-4645-a907-f7690bd68dfb" providerId="ADAL" clId="{871AC57A-6E3B-4D85-BA02-8D6F5065EA89}" dt="2024-06-05T17:57:36.566" v="146"/>
          <ac:spMkLst>
            <pc:docMk/>
            <pc:sldMk cId="1903397118" sldId="5004"/>
            <ac:spMk id="240" creationId="{345CF1A9-E083-82B4-3321-380A30B138AB}"/>
          </ac:spMkLst>
        </pc:spChg>
        <pc:spChg chg="mod">
          <ac:chgData name="Jacob, Karen (SPAC/PSPC) (elle-la / she-her)" userId="66e9cce0-e37b-4645-a907-f7690bd68dfb" providerId="ADAL" clId="{871AC57A-6E3B-4D85-BA02-8D6F5065EA89}" dt="2024-06-05T17:57:36.566" v="146"/>
          <ac:spMkLst>
            <pc:docMk/>
            <pc:sldMk cId="1903397118" sldId="5004"/>
            <ac:spMk id="241" creationId="{E5C18C4F-BBA3-891A-C4B5-2D54F2EB5E6B}"/>
          </ac:spMkLst>
        </pc:spChg>
        <pc:spChg chg="mod">
          <ac:chgData name="Jacob, Karen (SPAC/PSPC) (elle-la / she-her)" userId="66e9cce0-e37b-4645-a907-f7690bd68dfb" providerId="ADAL" clId="{871AC57A-6E3B-4D85-BA02-8D6F5065EA89}" dt="2024-06-05T17:57:36.566" v="146"/>
          <ac:spMkLst>
            <pc:docMk/>
            <pc:sldMk cId="1903397118" sldId="5004"/>
            <ac:spMk id="242" creationId="{9E6F6CBD-BF5B-2115-BD8E-8C5D4EF2B464}"/>
          </ac:spMkLst>
        </pc:spChg>
        <pc:spChg chg="mod">
          <ac:chgData name="Jacob, Karen (SPAC/PSPC) (elle-la / she-her)" userId="66e9cce0-e37b-4645-a907-f7690bd68dfb" providerId="ADAL" clId="{871AC57A-6E3B-4D85-BA02-8D6F5065EA89}" dt="2024-06-05T17:57:36.566" v="146"/>
          <ac:spMkLst>
            <pc:docMk/>
            <pc:sldMk cId="1903397118" sldId="5004"/>
            <ac:spMk id="243" creationId="{08052811-0262-CDCA-6140-29646A5B42EF}"/>
          </ac:spMkLst>
        </pc:spChg>
        <pc:spChg chg="mod">
          <ac:chgData name="Jacob, Karen (SPAC/PSPC) (elle-la / she-her)" userId="66e9cce0-e37b-4645-a907-f7690bd68dfb" providerId="ADAL" clId="{871AC57A-6E3B-4D85-BA02-8D6F5065EA89}" dt="2024-06-05T17:57:36.566" v="146"/>
          <ac:spMkLst>
            <pc:docMk/>
            <pc:sldMk cId="1903397118" sldId="5004"/>
            <ac:spMk id="244" creationId="{4148BCA5-A63E-4B70-931A-AE84E9890A4C}"/>
          </ac:spMkLst>
        </pc:spChg>
        <pc:spChg chg="mod">
          <ac:chgData name="Jacob, Karen (SPAC/PSPC) (elle-la / she-her)" userId="66e9cce0-e37b-4645-a907-f7690bd68dfb" providerId="ADAL" clId="{871AC57A-6E3B-4D85-BA02-8D6F5065EA89}" dt="2024-06-05T17:57:36.566" v="146"/>
          <ac:spMkLst>
            <pc:docMk/>
            <pc:sldMk cId="1903397118" sldId="5004"/>
            <ac:spMk id="245" creationId="{0D5AAF7B-4382-1492-E65C-E5A1F89E6143}"/>
          </ac:spMkLst>
        </pc:spChg>
        <pc:spChg chg="mod">
          <ac:chgData name="Jacob, Karen (SPAC/PSPC) (elle-la / she-her)" userId="66e9cce0-e37b-4645-a907-f7690bd68dfb" providerId="ADAL" clId="{871AC57A-6E3B-4D85-BA02-8D6F5065EA89}" dt="2024-06-05T17:57:36.566" v="146"/>
          <ac:spMkLst>
            <pc:docMk/>
            <pc:sldMk cId="1903397118" sldId="5004"/>
            <ac:spMk id="246" creationId="{DDC153DC-B407-5EDE-E1EF-A6B68540B529}"/>
          </ac:spMkLst>
        </pc:spChg>
        <pc:spChg chg="mod">
          <ac:chgData name="Jacob, Karen (SPAC/PSPC) (elle-la / she-her)" userId="66e9cce0-e37b-4645-a907-f7690bd68dfb" providerId="ADAL" clId="{871AC57A-6E3B-4D85-BA02-8D6F5065EA89}" dt="2024-06-05T17:57:36.566" v="146"/>
          <ac:spMkLst>
            <pc:docMk/>
            <pc:sldMk cId="1903397118" sldId="5004"/>
            <ac:spMk id="247" creationId="{D0475F2F-4DBB-00E0-84AE-83184F2CC953}"/>
          </ac:spMkLst>
        </pc:spChg>
        <pc:spChg chg="mod">
          <ac:chgData name="Jacob, Karen (SPAC/PSPC) (elle-la / she-her)" userId="66e9cce0-e37b-4645-a907-f7690bd68dfb" providerId="ADAL" clId="{871AC57A-6E3B-4D85-BA02-8D6F5065EA89}" dt="2024-06-05T17:57:36.566" v="146"/>
          <ac:spMkLst>
            <pc:docMk/>
            <pc:sldMk cId="1903397118" sldId="5004"/>
            <ac:spMk id="248" creationId="{A9A4933E-C714-51C6-6D2A-AA2F8050A283}"/>
          </ac:spMkLst>
        </pc:spChg>
        <pc:spChg chg="mod">
          <ac:chgData name="Jacob, Karen (SPAC/PSPC) (elle-la / she-her)" userId="66e9cce0-e37b-4645-a907-f7690bd68dfb" providerId="ADAL" clId="{871AC57A-6E3B-4D85-BA02-8D6F5065EA89}" dt="2024-06-05T17:57:36.566" v="146"/>
          <ac:spMkLst>
            <pc:docMk/>
            <pc:sldMk cId="1903397118" sldId="5004"/>
            <ac:spMk id="249" creationId="{D39055DD-A693-7E8E-59F8-42D1B3D9A4C6}"/>
          </ac:spMkLst>
        </pc:spChg>
        <pc:spChg chg="mod">
          <ac:chgData name="Jacob, Karen (SPAC/PSPC) (elle-la / she-her)" userId="66e9cce0-e37b-4645-a907-f7690bd68dfb" providerId="ADAL" clId="{871AC57A-6E3B-4D85-BA02-8D6F5065EA89}" dt="2024-06-05T17:57:36.566" v="146"/>
          <ac:spMkLst>
            <pc:docMk/>
            <pc:sldMk cId="1903397118" sldId="5004"/>
            <ac:spMk id="250" creationId="{C14ABFC3-A737-25F1-5FF8-EF2EDB4FC181}"/>
          </ac:spMkLst>
        </pc:spChg>
        <pc:spChg chg="mod">
          <ac:chgData name="Jacob, Karen (SPAC/PSPC) (elle-la / she-her)" userId="66e9cce0-e37b-4645-a907-f7690bd68dfb" providerId="ADAL" clId="{871AC57A-6E3B-4D85-BA02-8D6F5065EA89}" dt="2024-06-05T17:57:36.566" v="146"/>
          <ac:spMkLst>
            <pc:docMk/>
            <pc:sldMk cId="1903397118" sldId="5004"/>
            <ac:spMk id="251" creationId="{522FBB9E-9B4C-2FFF-208A-183C1A946DC4}"/>
          </ac:spMkLst>
        </pc:spChg>
        <pc:spChg chg="mod">
          <ac:chgData name="Jacob, Karen (SPAC/PSPC) (elle-la / she-her)" userId="66e9cce0-e37b-4645-a907-f7690bd68dfb" providerId="ADAL" clId="{871AC57A-6E3B-4D85-BA02-8D6F5065EA89}" dt="2024-06-05T17:57:36.566" v="146"/>
          <ac:spMkLst>
            <pc:docMk/>
            <pc:sldMk cId="1903397118" sldId="5004"/>
            <ac:spMk id="252" creationId="{389EBAF4-287E-DFBB-5EE3-1609809C44D6}"/>
          </ac:spMkLst>
        </pc:spChg>
        <pc:spChg chg="mod">
          <ac:chgData name="Jacob, Karen (SPAC/PSPC) (elle-la / she-her)" userId="66e9cce0-e37b-4645-a907-f7690bd68dfb" providerId="ADAL" clId="{871AC57A-6E3B-4D85-BA02-8D6F5065EA89}" dt="2024-06-05T17:57:36.566" v="146"/>
          <ac:spMkLst>
            <pc:docMk/>
            <pc:sldMk cId="1903397118" sldId="5004"/>
            <ac:spMk id="253" creationId="{A9BE5517-497D-5A2E-EF37-E220B4FB1D4F}"/>
          </ac:spMkLst>
        </pc:spChg>
        <pc:spChg chg="mod">
          <ac:chgData name="Jacob, Karen (SPAC/PSPC) (elle-la / she-her)" userId="66e9cce0-e37b-4645-a907-f7690bd68dfb" providerId="ADAL" clId="{871AC57A-6E3B-4D85-BA02-8D6F5065EA89}" dt="2024-06-05T17:57:36.566" v="146"/>
          <ac:spMkLst>
            <pc:docMk/>
            <pc:sldMk cId="1903397118" sldId="5004"/>
            <ac:spMk id="254" creationId="{B6B4FAE0-D41B-022F-AFFE-51AE758A0452}"/>
          </ac:spMkLst>
        </pc:spChg>
        <pc:spChg chg="mod">
          <ac:chgData name="Jacob, Karen (SPAC/PSPC) (elle-la / she-her)" userId="66e9cce0-e37b-4645-a907-f7690bd68dfb" providerId="ADAL" clId="{871AC57A-6E3B-4D85-BA02-8D6F5065EA89}" dt="2024-06-05T17:57:36.566" v="146"/>
          <ac:spMkLst>
            <pc:docMk/>
            <pc:sldMk cId="1903397118" sldId="5004"/>
            <ac:spMk id="255" creationId="{D08A1857-84F4-044D-8CAE-F94624A327E0}"/>
          </ac:spMkLst>
        </pc:spChg>
        <pc:spChg chg="mod">
          <ac:chgData name="Jacob, Karen (SPAC/PSPC) (elle-la / she-her)" userId="66e9cce0-e37b-4645-a907-f7690bd68dfb" providerId="ADAL" clId="{871AC57A-6E3B-4D85-BA02-8D6F5065EA89}" dt="2024-06-05T17:57:36.566" v="146"/>
          <ac:spMkLst>
            <pc:docMk/>
            <pc:sldMk cId="1903397118" sldId="5004"/>
            <ac:spMk id="256" creationId="{A0812634-E264-70EB-B2DC-4F2C54419E1A}"/>
          </ac:spMkLst>
        </pc:spChg>
        <pc:spChg chg="mod">
          <ac:chgData name="Jacob, Karen (SPAC/PSPC) (elle-la / she-her)" userId="66e9cce0-e37b-4645-a907-f7690bd68dfb" providerId="ADAL" clId="{871AC57A-6E3B-4D85-BA02-8D6F5065EA89}" dt="2024-06-05T17:57:36.566" v="146"/>
          <ac:spMkLst>
            <pc:docMk/>
            <pc:sldMk cId="1903397118" sldId="5004"/>
            <ac:spMk id="257" creationId="{8159A2C1-ED75-662B-1FD7-52410B173F67}"/>
          </ac:spMkLst>
        </pc:spChg>
        <pc:spChg chg="mod">
          <ac:chgData name="Jacob, Karen (SPAC/PSPC) (elle-la / she-her)" userId="66e9cce0-e37b-4645-a907-f7690bd68dfb" providerId="ADAL" clId="{871AC57A-6E3B-4D85-BA02-8D6F5065EA89}" dt="2024-06-05T17:57:36.566" v="146"/>
          <ac:spMkLst>
            <pc:docMk/>
            <pc:sldMk cId="1903397118" sldId="5004"/>
            <ac:spMk id="258" creationId="{8266099A-6399-10FE-1431-AC74E58B56F8}"/>
          </ac:spMkLst>
        </pc:spChg>
        <pc:spChg chg="mod">
          <ac:chgData name="Jacob, Karen (SPAC/PSPC) (elle-la / she-her)" userId="66e9cce0-e37b-4645-a907-f7690bd68dfb" providerId="ADAL" clId="{871AC57A-6E3B-4D85-BA02-8D6F5065EA89}" dt="2024-06-05T17:57:36.566" v="146"/>
          <ac:spMkLst>
            <pc:docMk/>
            <pc:sldMk cId="1903397118" sldId="5004"/>
            <ac:spMk id="259" creationId="{B475523B-B94F-E555-4EB6-169AB6AE6536}"/>
          </ac:spMkLst>
        </pc:spChg>
        <pc:spChg chg="mod">
          <ac:chgData name="Jacob, Karen (SPAC/PSPC) (elle-la / she-her)" userId="66e9cce0-e37b-4645-a907-f7690bd68dfb" providerId="ADAL" clId="{871AC57A-6E3B-4D85-BA02-8D6F5065EA89}" dt="2024-06-05T17:57:36.566" v="146"/>
          <ac:spMkLst>
            <pc:docMk/>
            <pc:sldMk cId="1903397118" sldId="5004"/>
            <ac:spMk id="260" creationId="{1E0E5E8A-CDCF-2936-E342-7DA4E394C28E}"/>
          </ac:spMkLst>
        </pc:spChg>
        <pc:spChg chg="mod">
          <ac:chgData name="Jacob, Karen (SPAC/PSPC) (elle-la / she-her)" userId="66e9cce0-e37b-4645-a907-f7690bd68dfb" providerId="ADAL" clId="{871AC57A-6E3B-4D85-BA02-8D6F5065EA89}" dt="2024-06-05T17:57:36.566" v="146"/>
          <ac:spMkLst>
            <pc:docMk/>
            <pc:sldMk cId="1903397118" sldId="5004"/>
            <ac:spMk id="261" creationId="{66ACB141-4C47-B077-7C5E-0CE50B1147F6}"/>
          </ac:spMkLst>
        </pc:spChg>
        <pc:spChg chg="mod">
          <ac:chgData name="Jacob, Karen (SPAC/PSPC) (elle-la / she-her)" userId="66e9cce0-e37b-4645-a907-f7690bd68dfb" providerId="ADAL" clId="{871AC57A-6E3B-4D85-BA02-8D6F5065EA89}" dt="2024-06-05T17:57:36.566" v="146"/>
          <ac:spMkLst>
            <pc:docMk/>
            <pc:sldMk cId="1903397118" sldId="5004"/>
            <ac:spMk id="262" creationId="{D6B8952A-1B6F-0E44-0034-C6843E671B03}"/>
          </ac:spMkLst>
        </pc:spChg>
        <pc:spChg chg="mod">
          <ac:chgData name="Jacob, Karen (SPAC/PSPC) (elle-la / she-her)" userId="66e9cce0-e37b-4645-a907-f7690bd68dfb" providerId="ADAL" clId="{871AC57A-6E3B-4D85-BA02-8D6F5065EA89}" dt="2024-06-05T17:57:36.566" v="146"/>
          <ac:spMkLst>
            <pc:docMk/>
            <pc:sldMk cId="1903397118" sldId="5004"/>
            <ac:spMk id="263" creationId="{E657A509-8AE2-43E3-00E6-23E1DF4C0327}"/>
          </ac:spMkLst>
        </pc:spChg>
        <pc:spChg chg="mod">
          <ac:chgData name="Jacob, Karen (SPAC/PSPC) (elle-la / she-her)" userId="66e9cce0-e37b-4645-a907-f7690bd68dfb" providerId="ADAL" clId="{871AC57A-6E3B-4D85-BA02-8D6F5065EA89}" dt="2024-06-05T17:57:36.566" v="146"/>
          <ac:spMkLst>
            <pc:docMk/>
            <pc:sldMk cId="1903397118" sldId="5004"/>
            <ac:spMk id="264" creationId="{362FE975-FA86-2D2D-4B03-A5DDC6CB655A}"/>
          </ac:spMkLst>
        </pc:spChg>
        <pc:spChg chg="mod">
          <ac:chgData name="Jacob, Karen (SPAC/PSPC) (elle-la / she-her)" userId="66e9cce0-e37b-4645-a907-f7690bd68dfb" providerId="ADAL" clId="{871AC57A-6E3B-4D85-BA02-8D6F5065EA89}" dt="2024-06-05T17:57:36.566" v="146"/>
          <ac:spMkLst>
            <pc:docMk/>
            <pc:sldMk cId="1903397118" sldId="5004"/>
            <ac:spMk id="265" creationId="{0A0D8114-F1FF-AEF5-B03A-C1BDBD46FF4A}"/>
          </ac:spMkLst>
        </pc:spChg>
        <pc:spChg chg="mod">
          <ac:chgData name="Jacob, Karen (SPAC/PSPC) (elle-la / she-her)" userId="66e9cce0-e37b-4645-a907-f7690bd68dfb" providerId="ADAL" clId="{871AC57A-6E3B-4D85-BA02-8D6F5065EA89}" dt="2024-06-05T17:57:36.566" v="146"/>
          <ac:spMkLst>
            <pc:docMk/>
            <pc:sldMk cId="1903397118" sldId="5004"/>
            <ac:spMk id="266" creationId="{A3762BDC-D20E-2D29-80A4-792CE492D590}"/>
          </ac:spMkLst>
        </pc:spChg>
        <pc:spChg chg="mod">
          <ac:chgData name="Jacob, Karen (SPAC/PSPC) (elle-la / she-her)" userId="66e9cce0-e37b-4645-a907-f7690bd68dfb" providerId="ADAL" clId="{871AC57A-6E3B-4D85-BA02-8D6F5065EA89}" dt="2024-06-05T17:57:36.566" v="146"/>
          <ac:spMkLst>
            <pc:docMk/>
            <pc:sldMk cId="1903397118" sldId="5004"/>
            <ac:spMk id="267" creationId="{B22DB67D-32A0-74C2-639F-89BCA54367E0}"/>
          </ac:spMkLst>
        </pc:spChg>
        <pc:spChg chg="mod">
          <ac:chgData name="Jacob, Karen (SPAC/PSPC) (elle-la / she-her)" userId="66e9cce0-e37b-4645-a907-f7690bd68dfb" providerId="ADAL" clId="{871AC57A-6E3B-4D85-BA02-8D6F5065EA89}" dt="2024-06-05T17:57:36.566" v="146"/>
          <ac:spMkLst>
            <pc:docMk/>
            <pc:sldMk cId="1903397118" sldId="5004"/>
            <ac:spMk id="268" creationId="{3A6857F0-6FA2-F838-08E3-E82809FC933E}"/>
          </ac:spMkLst>
        </pc:spChg>
        <pc:spChg chg="mod">
          <ac:chgData name="Jacob, Karen (SPAC/PSPC) (elle-la / she-her)" userId="66e9cce0-e37b-4645-a907-f7690bd68dfb" providerId="ADAL" clId="{871AC57A-6E3B-4D85-BA02-8D6F5065EA89}" dt="2024-06-05T17:57:36.566" v="146"/>
          <ac:spMkLst>
            <pc:docMk/>
            <pc:sldMk cId="1903397118" sldId="5004"/>
            <ac:spMk id="269" creationId="{DA852FCA-5291-F473-7B85-CD6174E96D1E}"/>
          </ac:spMkLst>
        </pc:spChg>
        <pc:spChg chg="mod">
          <ac:chgData name="Jacob, Karen (SPAC/PSPC) (elle-la / she-her)" userId="66e9cce0-e37b-4645-a907-f7690bd68dfb" providerId="ADAL" clId="{871AC57A-6E3B-4D85-BA02-8D6F5065EA89}" dt="2024-06-05T17:57:36.566" v="146"/>
          <ac:spMkLst>
            <pc:docMk/>
            <pc:sldMk cId="1903397118" sldId="5004"/>
            <ac:spMk id="270" creationId="{56DB2B05-ECBF-EBDD-712D-A43991E7CA16}"/>
          </ac:spMkLst>
        </pc:spChg>
        <pc:spChg chg="mod">
          <ac:chgData name="Jacob, Karen (SPAC/PSPC) (elle-la / she-her)" userId="66e9cce0-e37b-4645-a907-f7690bd68dfb" providerId="ADAL" clId="{871AC57A-6E3B-4D85-BA02-8D6F5065EA89}" dt="2024-06-05T17:57:36.566" v="146"/>
          <ac:spMkLst>
            <pc:docMk/>
            <pc:sldMk cId="1903397118" sldId="5004"/>
            <ac:spMk id="271" creationId="{B1C75131-42CA-BFEC-DA85-65E3CF9A95EF}"/>
          </ac:spMkLst>
        </pc:spChg>
        <pc:spChg chg="mod">
          <ac:chgData name="Jacob, Karen (SPAC/PSPC) (elle-la / she-her)" userId="66e9cce0-e37b-4645-a907-f7690bd68dfb" providerId="ADAL" clId="{871AC57A-6E3B-4D85-BA02-8D6F5065EA89}" dt="2024-06-05T17:57:36.566" v="146"/>
          <ac:spMkLst>
            <pc:docMk/>
            <pc:sldMk cId="1903397118" sldId="5004"/>
            <ac:spMk id="272" creationId="{FDDE0573-0179-BA50-2116-F0523FF230E9}"/>
          </ac:spMkLst>
        </pc:spChg>
        <pc:spChg chg="mod">
          <ac:chgData name="Jacob, Karen (SPAC/PSPC) (elle-la / she-her)" userId="66e9cce0-e37b-4645-a907-f7690bd68dfb" providerId="ADAL" clId="{871AC57A-6E3B-4D85-BA02-8D6F5065EA89}" dt="2024-06-05T17:57:36.566" v="146"/>
          <ac:spMkLst>
            <pc:docMk/>
            <pc:sldMk cId="1903397118" sldId="5004"/>
            <ac:spMk id="273" creationId="{C3B10571-F8C9-F123-21CE-5AFBA152579C}"/>
          </ac:spMkLst>
        </pc:spChg>
        <pc:spChg chg="mod">
          <ac:chgData name="Jacob, Karen (SPAC/PSPC) (elle-la / she-her)" userId="66e9cce0-e37b-4645-a907-f7690bd68dfb" providerId="ADAL" clId="{871AC57A-6E3B-4D85-BA02-8D6F5065EA89}" dt="2024-06-05T17:57:36.566" v="146"/>
          <ac:spMkLst>
            <pc:docMk/>
            <pc:sldMk cId="1903397118" sldId="5004"/>
            <ac:spMk id="275" creationId="{CFA7901C-E192-10B9-C980-C98D47C66704}"/>
          </ac:spMkLst>
        </pc:spChg>
        <pc:spChg chg="mod">
          <ac:chgData name="Jacob, Karen (SPAC/PSPC) (elle-la / she-her)" userId="66e9cce0-e37b-4645-a907-f7690bd68dfb" providerId="ADAL" clId="{871AC57A-6E3B-4D85-BA02-8D6F5065EA89}" dt="2024-06-05T17:57:36.566" v="146"/>
          <ac:spMkLst>
            <pc:docMk/>
            <pc:sldMk cId="1903397118" sldId="5004"/>
            <ac:spMk id="277" creationId="{1DC25891-A551-6759-6814-793854881FEA}"/>
          </ac:spMkLst>
        </pc:spChg>
        <pc:spChg chg="mod">
          <ac:chgData name="Jacob, Karen (SPAC/PSPC) (elle-la / she-her)" userId="66e9cce0-e37b-4645-a907-f7690bd68dfb" providerId="ADAL" clId="{871AC57A-6E3B-4D85-BA02-8D6F5065EA89}" dt="2024-06-05T17:57:36.566" v="146"/>
          <ac:spMkLst>
            <pc:docMk/>
            <pc:sldMk cId="1903397118" sldId="5004"/>
            <ac:spMk id="278" creationId="{A5FB845A-A468-D4EA-279D-3B343704B048}"/>
          </ac:spMkLst>
        </pc:spChg>
        <pc:spChg chg="mod">
          <ac:chgData name="Jacob, Karen (SPAC/PSPC) (elle-la / she-her)" userId="66e9cce0-e37b-4645-a907-f7690bd68dfb" providerId="ADAL" clId="{871AC57A-6E3B-4D85-BA02-8D6F5065EA89}" dt="2024-06-05T17:57:36.566" v="146"/>
          <ac:spMkLst>
            <pc:docMk/>
            <pc:sldMk cId="1903397118" sldId="5004"/>
            <ac:spMk id="279" creationId="{AE5061A4-B73D-15CA-5B3C-FB37E7E2B2F5}"/>
          </ac:spMkLst>
        </pc:spChg>
        <pc:spChg chg="mod">
          <ac:chgData name="Jacob, Karen (SPAC/PSPC) (elle-la / she-her)" userId="66e9cce0-e37b-4645-a907-f7690bd68dfb" providerId="ADAL" clId="{871AC57A-6E3B-4D85-BA02-8D6F5065EA89}" dt="2024-06-05T17:57:36.566" v="146"/>
          <ac:spMkLst>
            <pc:docMk/>
            <pc:sldMk cId="1903397118" sldId="5004"/>
            <ac:spMk id="280" creationId="{C55CD1B8-FBC0-DCF1-D863-B76D2EA4E4CD}"/>
          </ac:spMkLst>
        </pc:spChg>
        <pc:spChg chg="mod">
          <ac:chgData name="Jacob, Karen (SPAC/PSPC) (elle-la / she-her)" userId="66e9cce0-e37b-4645-a907-f7690bd68dfb" providerId="ADAL" clId="{871AC57A-6E3B-4D85-BA02-8D6F5065EA89}" dt="2024-06-05T17:57:36.566" v="146"/>
          <ac:spMkLst>
            <pc:docMk/>
            <pc:sldMk cId="1903397118" sldId="5004"/>
            <ac:spMk id="281" creationId="{ACC63CB5-97FD-C363-B49A-EBE7760BE2DD}"/>
          </ac:spMkLst>
        </pc:spChg>
        <pc:spChg chg="mod">
          <ac:chgData name="Jacob, Karen (SPAC/PSPC) (elle-la / she-her)" userId="66e9cce0-e37b-4645-a907-f7690bd68dfb" providerId="ADAL" clId="{871AC57A-6E3B-4D85-BA02-8D6F5065EA89}" dt="2024-06-05T17:57:36.566" v="146"/>
          <ac:spMkLst>
            <pc:docMk/>
            <pc:sldMk cId="1903397118" sldId="5004"/>
            <ac:spMk id="282" creationId="{1BE764D9-A606-2C88-EABF-4C8E9FD40E9E}"/>
          </ac:spMkLst>
        </pc:spChg>
        <pc:spChg chg="mod">
          <ac:chgData name="Jacob, Karen (SPAC/PSPC) (elle-la / she-her)" userId="66e9cce0-e37b-4645-a907-f7690bd68dfb" providerId="ADAL" clId="{871AC57A-6E3B-4D85-BA02-8D6F5065EA89}" dt="2024-06-05T17:57:36.566" v="146"/>
          <ac:spMkLst>
            <pc:docMk/>
            <pc:sldMk cId="1903397118" sldId="5004"/>
            <ac:spMk id="283" creationId="{DD44E0F5-1D3A-2B25-5E5D-470B74E88D2E}"/>
          </ac:spMkLst>
        </pc:spChg>
        <pc:spChg chg="mod">
          <ac:chgData name="Jacob, Karen (SPAC/PSPC) (elle-la / she-her)" userId="66e9cce0-e37b-4645-a907-f7690bd68dfb" providerId="ADAL" clId="{871AC57A-6E3B-4D85-BA02-8D6F5065EA89}" dt="2024-06-05T17:57:36.566" v="146"/>
          <ac:spMkLst>
            <pc:docMk/>
            <pc:sldMk cId="1903397118" sldId="5004"/>
            <ac:spMk id="284" creationId="{BDA12963-1507-4445-91A9-93903E659C52}"/>
          </ac:spMkLst>
        </pc:spChg>
        <pc:spChg chg="mod">
          <ac:chgData name="Jacob, Karen (SPAC/PSPC) (elle-la / she-her)" userId="66e9cce0-e37b-4645-a907-f7690bd68dfb" providerId="ADAL" clId="{871AC57A-6E3B-4D85-BA02-8D6F5065EA89}" dt="2024-06-05T17:57:36.566" v="146"/>
          <ac:spMkLst>
            <pc:docMk/>
            <pc:sldMk cId="1903397118" sldId="5004"/>
            <ac:spMk id="285" creationId="{04F7C5BE-B5A8-BBB9-4238-FE33544A8359}"/>
          </ac:spMkLst>
        </pc:spChg>
        <pc:spChg chg="mod">
          <ac:chgData name="Jacob, Karen (SPAC/PSPC) (elle-la / she-her)" userId="66e9cce0-e37b-4645-a907-f7690bd68dfb" providerId="ADAL" clId="{871AC57A-6E3B-4D85-BA02-8D6F5065EA89}" dt="2024-06-05T17:57:36.566" v="146"/>
          <ac:spMkLst>
            <pc:docMk/>
            <pc:sldMk cId="1903397118" sldId="5004"/>
            <ac:spMk id="286" creationId="{774080CF-0AB5-FFEE-BF9A-B9EECAD655AF}"/>
          </ac:spMkLst>
        </pc:spChg>
        <pc:spChg chg="mod">
          <ac:chgData name="Jacob, Karen (SPAC/PSPC) (elle-la / she-her)" userId="66e9cce0-e37b-4645-a907-f7690bd68dfb" providerId="ADAL" clId="{871AC57A-6E3B-4D85-BA02-8D6F5065EA89}" dt="2024-06-05T17:57:36.566" v="146"/>
          <ac:spMkLst>
            <pc:docMk/>
            <pc:sldMk cId="1903397118" sldId="5004"/>
            <ac:spMk id="287" creationId="{19FF0BDD-B7F4-13C8-E580-18844F6BB050}"/>
          </ac:spMkLst>
        </pc:spChg>
        <pc:spChg chg="mod">
          <ac:chgData name="Jacob, Karen (SPAC/PSPC) (elle-la / she-her)" userId="66e9cce0-e37b-4645-a907-f7690bd68dfb" providerId="ADAL" clId="{871AC57A-6E3B-4D85-BA02-8D6F5065EA89}" dt="2024-06-05T17:57:36.566" v="146"/>
          <ac:spMkLst>
            <pc:docMk/>
            <pc:sldMk cId="1903397118" sldId="5004"/>
            <ac:spMk id="288" creationId="{0FD5D344-AF36-D2C5-068A-1F7928385672}"/>
          </ac:spMkLst>
        </pc:spChg>
        <pc:spChg chg="mod">
          <ac:chgData name="Jacob, Karen (SPAC/PSPC) (elle-la / she-her)" userId="66e9cce0-e37b-4645-a907-f7690bd68dfb" providerId="ADAL" clId="{871AC57A-6E3B-4D85-BA02-8D6F5065EA89}" dt="2024-06-05T17:57:36.566" v="146"/>
          <ac:spMkLst>
            <pc:docMk/>
            <pc:sldMk cId="1903397118" sldId="5004"/>
            <ac:spMk id="289" creationId="{AB521D2D-22B4-5235-B627-080EC3B108A2}"/>
          </ac:spMkLst>
        </pc:spChg>
        <pc:spChg chg="mod">
          <ac:chgData name="Jacob, Karen (SPAC/PSPC) (elle-la / she-her)" userId="66e9cce0-e37b-4645-a907-f7690bd68dfb" providerId="ADAL" clId="{871AC57A-6E3B-4D85-BA02-8D6F5065EA89}" dt="2024-06-05T17:57:36.566" v="146"/>
          <ac:spMkLst>
            <pc:docMk/>
            <pc:sldMk cId="1903397118" sldId="5004"/>
            <ac:spMk id="290" creationId="{22431310-A6AF-49F6-6C9D-66DF5DD0D27F}"/>
          </ac:spMkLst>
        </pc:spChg>
        <pc:spChg chg="mod">
          <ac:chgData name="Jacob, Karen (SPAC/PSPC) (elle-la / she-her)" userId="66e9cce0-e37b-4645-a907-f7690bd68dfb" providerId="ADAL" clId="{871AC57A-6E3B-4D85-BA02-8D6F5065EA89}" dt="2024-06-05T17:57:36.566" v="146"/>
          <ac:spMkLst>
            <pc:docMk/>
            <pc:sldMk cId="1903397118" sldId="5004"/>
            <ac:spMk id="291" creationId="{9FAC6019-9A10-4939-BC94-5E5751708FDF}"/>
          </ac:spMkLst>
        </pc:spChg>
        <pc:spChg chg="mod">
          <ac:chgData name="Jacob, Karen (SPAC/PSPC) (elle-la / she-her)" userId="66e9cce0-e37b-4645-a907-f7690bd68dfb" providerId="ADAL" clId="{871AC57A-6E3B-4D85-BA02-8D6F5065EA89}" dt="2024-06-05T17:57:36.566" v="146"/>
          <ac:spMkLst>
            <pc:docMk/>
            <pc:sldMk cId="1903397118" sldId="5004"/>
            <ac:spMk id="292" creationId="{3B1771D4-D09C-1C15-0843-1181CAC953F2}"/>
          </ac:spMkLst>
        </pc:spChg>
        <pc:spChg chg="mod">
          <ac:chgData name="Jacob, Karen (SPAC/PSPC) (elle-la / she-her)" userId="66e9cce0-e37b-4645-a907-f7690bd68dfb" providerId="ADAL" clId="{871AC57A-6E3B-4D85-BA02-8D6F5065EA89}" dt="2024-06-05T17:57:36.566" v="146"/>
          <ac:spMkLst>
            <pc:docMk/>
            <pc:sldMk cId="1903397118" sldId="5004"/>
            <ac:spMk id="293" creationId="{838CB9D1-8A76-3A28-E971-C3E0109D1CAC}"/>
          </ac:spMkLst>
        </pc:spChg>
        <pc:spChg chg="mod">
          <ac:chgData name="Jacob, Karen (SPAC/PSPC) (elle-la / she-her)" userId="66e9cce0-e37b-4645-a907-f7690bd68dfb" providerId="ADAL" clId="{871AC57A-6E3B-4D85-BA02-8D6F5065EA89}" dt="2024-06-05T17:57:36.566" v="146"/>
          <ac:spMkLst>
            <pc:docMk/>
            <pc:sldMk cId="1903397118" sldId="5004"/>
            <ac:spMk id="294" creationId="{C4A16E60-C7A3-3B14-06D7-381D31E7E531}"/>
          </ac:spMkLst>
        </pc:spChg>
        <pc:spChg chg="mod">
          <ac:chgData name="Jacob, Karen (SPAC/PSPC) (elle-la / she-her)" userId="66e9cce0-e37b-4645-a907-f7690bd68dfb" providerId="ADAL" clId="{871AC57A-6E3B-4D85-BA02-8D6F5065EA89}" dt="2024-06-05T17:57:36.566" v="146"/>
          <ac:spMkLst>
            <pc:docMk/>
            <pc:sldMk cId="1903397118" sldId="5004"/>
            <ac:spMk id="295" creationId="{19F3388E-D131-FBD3-98A4-71304B569646}"/>
          </ac:spMkLst>
        </pc:spChg>
        <pc:spChg chg="mod">
          <ac:chgData name="Jacob, Karen (SPAC/PSPC) (elle-la / she-her)" userId="66e9cce0-e37b-4645-a907-f7690bd68dfb" providerId="ADAL" clId="{871AC57A-6E3B-4D85-BA02-8D6F5065EA89}" dt="2024-06-05T17:57:36.566" v="146"/>
          <ac:spMkLst>
            <pc:docMk/>
            <pc:sldMk cId="1903397118" sldId="5004"/>
            <ac:spMk id="296" creationId="{FDE52C8F-34CB-9EB6-FC99-2EDED2E806BC}"/>
          </ac:spMkLst>
        </pc:spChg>
        <pc:spChg chg="mod">
          <ac:chgData name="Jacob, Karen (SPAC/PSPC) (elle-la / she-her)" userId="66e9cce0-e37b-4645-a907-f7690bd68dfb" providerId="ADAL" clId="{871AC57A-6E3B-4D85-BA02-8D6F5065EA89}" dt="2024-06-05T17:57:36.566" v="146"/>
          <ac:spMkLst>
            <pc:docMk/>
            <pc:sldMk cId="1903397118" sldId="5004"/>
            <ac:spMk id="297" creationId="{0D4059E6-064A-F09E-605C-93D419F53BEA}"/>
          </ac:spMkLst>
        </pc:spChg>
        <pc:spChg chg="mod">
          <ac:chgData name="Jacob, Karen (SPAC/PSPC) (elle-la / she-her)" userId="66e9cce0-e37b-4645-a907-f7690bd68dfb" providerId="ADAL" clId="{871AC57A-6E3B-4D85-BA02-8D6F5065EA89}" dt="2024-06-05T17:57:36.566" v="146"/>
          <ac:spMkLst>
            <pc:docMk/>
            <pc:sldMk cId="1903397118" sldId="5004"/>
            <ac:spMk id="298" creationId="{B9B09B50-9743-6084-2745-8346C1A0A97E}"/>
          </ac:spMkLst>
        </pc:spChg>
        <pc:spChg chg="mod">
          <ac:chgData name="Jacob, Karen (SPAC/PSPC) (elle-la / she-her)" userId="66e9cce0-e37b-4645-a907-f7690bd68dfb" providerId="ADAL" clId="{871AC57A-6E3B-4D85-BA02-8D6F5065EA89}" dt="2024-06-05T17:57:36.566" v="146"/>
          <ac:spMkLst>
            <pc:docMk/>
            <pc:sldMk cId="1903397118" sldId="5004"/>
            <ac:spMk id="299" creationId="{07A63101-4128-02C4-0422-5764B922EA50}"/>
          </ac:spMkLst>
        </pc:spChg>
        <pc:spChg chg="mod">
          <ac:chgData name="Jacob, Karen (SPAC/PSPC) (elle-la / she-her)" userId="66e9cce0-e37b-4645-a907-f7690bd68dfb" providerId="ADAL" clId="{871AC57A-6E3B-4D85-BA02-8D6F5065EA89}" dt="2024-06-05T17:57:36.566" v="146"/>
          <ac:spMkLst>
            <pc:docMk/>
            <pc:sldMk cId="1903397118" sldId="5004"/>
            <ac:spMk id="300" creationId="{867D8935-C439-D4E2-B997-89C4354D5259}"/>
          </ac:spMkLst>
        </pc:spChg>
        <pc:spChg chg="mod">
          <ac:chgData name="Jacob, Karen (SPAC/PSPC) (elle-la / she-her)" userId="66e9cce0-e37b-4645-a907-f7690bd68dfb" providerId="ADAL" clId="{871AC57A-6E3B-4D85-BA02-8D6F5065EA89}" dt="2024-06-05T17:57:36.566" v="146"/>
          <ac:spMkLst>
            <pc:docMk/>
            <pc:sldMk cId="1903397118" sldId="5004"/>
            <ac:spMk id="301" creationId="{D44CCA65-1CEB-229A-25FC-7D755DC53405}"/>
          </ac:spMkLst>
        </pc:spChg>
        <pc:spChg chg="mod">
          <ac:chgData name="Jacob, Karen (SPAC/PSPC) (elle-la / she-her)" userId="66e9cce0-e37b-4645-a907-f7690bd68dfb" providerId="ADAL" clId="{871AC57A-6E3B-4D85-BA02-8D6F5065EA89}" dt="2024-06-05T17:57:36.566" v="146"/>
          <ac:spMkLst>
            <pc:docMk/>
            <pc:sldMk cId="1903397118" sldId="5004"/>
            <ac:spMk id="302" creationId="{EC2E7FE4-95A6-B60E-21E9-07D8AB41D095}"/>
          </ac:spMkLst>
        </pc:spChg>
        <pc:spChg chg="mod">
          <ac:chgData name="Jacob, Karen (SPAC/PSPC) (elle-la / she-her)" userId="66e9cce0-e37b-4645-a907-f7690bd68dfb" providerId="ADAL" clId="{871AC57A-6E3B-4D85-BA02-8D6F5065EA89}" dt="2024-06-05T17:57:36.566" v="146"/>
          <ac:spMkLst>
            <pc:docMk/>
            <pc:sldMk cId="1903397118" sldId="5004"/>
            <ac:spMk id="303" creationId="{486F8B69-4A98-F70C-F870-3BEDB049F19A}"/>
          </ac:spMkLst>
        </pc:spChg>
        <pc:spChg chg="mod">
          <ac:chgData name="Jacob, Karen (SPAC/PSPC) (elle-la / she-her)" userId="66e9cce0-e37b-4645-a907-f7690bd68dfb" providerId="ADAL" clId="{871AC57A-6E3B-4D85-BA02-8D6F5065EA89}" dt="2024-06-05T17:57:36.566" v="146"/>
          <ac:spMkLst>
            <pc:docMk/>
            <pc:sldMk cId="1903397118" sldId="5004"/>
            <ac:spMk id="304" creationId="{033643F7-861B-551D-874C-DB6F96FDF6AD}"/>
          </ac:spMkLst>
        </pc:spChg>
        <pc:spChg chg="mod">
          <ac:chgData name="Jacob, Karen (SPAC/PSPC) (elle-la / she-her)" userId="66e9cce0-e37b-4645-a907-f7690bd68dfb" providerId="ADAL" clId="{871AC57A-6E3B-4D85-BA02-8D6F5065EA89}" dt="2024-06-05T17:57:36.566" v="146"/>
          <ac:spMkLst>
            <pc:docMk/>
            <pc:sldMk cId="1903397118" sldId="5004"/>
            <ac:spMk id="305" creationId="{5FC6F875-BD0D-F981-2495-3C7D2B9C91D3}"/>
          </ac:spMkLst>
        </pc:spChg>
        <pc:spChg chg="mod">
          <ac:chgData name="Jacob, Karen (SPAC/PSPC) (elle-la / she-her)" userId="66e9cce0-e37b-4645-a907-f7690bd68dfb" providerId="ADAL" clId="{871AC57A-6E3B-4D85-BA02-8D6F5065EA89}" dt="2024-06-05T17:57:36.566" v="146"/>
          <ac:spMkLst>
            <pc:docMk/>
            <pc:sldMk cId="1903397118" sldId="5004"/>
            <ac:spMk id="306" creationId="{23CA3B9F-484A-3CC5-CE87-C0627FC8A68A}"/>
          </ac:spMkLst>
        </pc:spChg>
        <pc:spChg chg="mod">
          <ac:chgData name="Jacob, Karen (SPAC/PSPC) (elle-la / she-her)" userId="66e9cce0-e37b-4645-a907-f7690bd68dfb" providerId="ADAL" clId="{871AC57A-6E3B-4D85-BA02-8D6F5065EA89}" dt="2024-06-05T17:57:36.566" v="146"/>
          <ac:spMkLst>
            <pc:docMk/>
            <pc:sldMk cId="1903397118" sldId="5004"/>
            <ac:spMk id="307" creationId="{47AC2C31-60A4-7A86-EA0C-458788262976}"/>
          </ac:spMkLst>
        </pc:spChg>
        <pc:spChg chg="mod">
          <ac:chgData name="Jacob, Karen (SPAC/PSPC) (elle-la / she-her)" userId="66e9cce0-e37b-4645-a907-f7690bd68dfb" providerId="ADAL" clId="{871AC57A-6E3B-4D85-BA02-8D6F5065EA89}" dt="2024-06-05T17:57:36.566" v="146"/>
          <ac:spMkLst>
            <pc:docMk/>
            <pc:sldMk cId="1903397118" sldId="5004"/>
            <ac:spMk id="308" creationId="{98B65BDA-599B-0949-6C51-1F247B3E9706}"/>
          </ac:spMkLst>
        </pc:spChg>
        <pc:spChg chg="mod">
          <ac:chgData name="Jacob, Karen (SPAC/PSPC) (elle-la / she-her)" userId="66e9cce0-e37b-4645-a907-f7690bd68dfb" providerId="ADAL" clId="{871AC57A-6E3B-4D85-BA02-8D6F5065EA89}" dt="2024-06-05T17:57:36.566" v="146"/>
          <ac:spMkLst>
            <pc:docMk/>
            <pc:sldMk cId="1903397118" sldId="5004"/>
            <ac:spMk id="309" creationId="{DDEEA858-3A27-BB44-9C2C-75D5FF37337A}"/>
          </ac:spMkLst>
        </pc:spChg>
        <pc:spChg chg="mod">
          <ac:chgData name="Jacob, Karen (SPAC/PSPC) (elle-la / she-her)" userId="66e9cce0-e37b-4645-a907-f7690bd68dfb" providerId="ADAL" clId="{871AC57A-6E3B-4D85-BA02-8D6F5065EA89}" dt="2024-06-05T17:57:36.566" v="146"/>
          <ac:spMkLst>
            <pc:docMk/>
            <pc:sldMk cId="1903397118" sldId="5004"/>
            <ac:spMk id="310" creationId="{E27278B1-F065-49ED-0B04-110DBFACA799}"/>
          </ac:spMkLst>
        </pc:spChg>
        <pc:spChg chg="mod">
          <ac:chgData name="Jacob, Karen (SPAC/PSPC) (elle-la / she-her)" userId="66e9cce0-e37b-4645-a907-f7690bd68dfb" providerId="ADAL" clId="{871AC57A-6E3B-4D85-BA02-8D6F5065EA89}" dt="2024-06-05T17:57:36.566" v="146"/>
          <ac:spMkLst>
            <pc:docMk/>
            <pc:sldMk cId="1903397118" sldId="5004"/>
            <ac:spMk id="311" creationId="{7C40C0AA-5751-FBDE-51E6-57E08FAA0E4F}"/>
          </ac:spMkLst>
        </pc:spChg>
        <pc:spChg chg="mod">
          <ac:chgData name="Jacob, Karen (SPAC/PSPC) (elle-la / she-her)" userId="66e9cce0-e37b-4645-a907-f7690bd68dfb" providerId="ADAL" clId="{871AC57A-6E3B-4D85-BA02-8D6F5065EA89}" dt="2024-06-05T17:57:36.566" v="146"/>
          <ac:spMkLst>
            <pc:docMk/>
            <pc:sldMk cId="1903397118" sldId="5004"/>
            <ac:spMk id="312" creationId="{2BC643A4-59D6-4771-A23C-A3A2BCF73164}"/>
          </ac:spMkLst>
        </pc:spChg>
        <pc:spChg chg="mod">
          <ac:chgData name="Jacob, Karen (SPAC/PSPC) (elle-la / she-her)" userId="66e9cce0-e37b-4645-a907-f7690bd68dfb" providerId="ADAL" clId="{871AC57A-6E3B-4D85-BA02-8D6F5065EA89}" dt="2024-06-05T17:57:36.566" v="146"/>
          <ac:spMkLst>
            <pc:docMk/>
            <pc:sldMk cId="1903397118" sldId="5004"/>
            <ac:spMk id="313" creationId="{F3AEAFB2-507E-E6C6-CAC5-A9E7E93450C6}"/>
          </ac:spMkLst>
        </pc:spChg>
        <pc:spChg chg="mod">
          <ac:chgData name="Jacob, Karen (SPAC/PSPC) (elle-la / she-her)" userId="66e9cce0-e37b-4645-a907-f7690bd68dfb" providerId="ADAL" clId="{871AC57A-6E3B-4D85-BA02-8D6F5065EA89}" dt="2024-06-05T17:57:36.566" v="146"/>
          <ac:spMkLst>
            <pc:docMk/>
            <pc:sldMk cId="1903397118" sldId="5004"/>
            <ac:spMk id="314" creationId="{8A5CA8C3-04EE-D308-3EFD-2F3CB333B52E}"/>
          </ac:spMkLst>
        </pc:spChg>
        <pc:spChg chg="mod">
          <ac:chgData name="Jacob, Karen (SPAC/PSPC) (elle-la / she-her)" userId="66e9cce0-e37b-4645-a907-f7690bd68dfb" providerId="ADAL" clId="{871AC57A-6E3B-4D85-BA02-8D6F5065EA89}" dt="2024-06-05T17:57:36.566" v="146"/>
          <ac:spMkLst>
            <pc:docMk/>
            <pc:sldMk cId="1903397118" sldId="5004"/>
            <ac:spMk id="315" creationId="{2BB1B088-9077-A516-170E-3DEF2F33CC85}"/>
          </ac:spMkLst>
        </pc:spChg>
        <pc:spChg chg="mod">
          <ac:chgData name="Jacob, Karen (SPAC/PSPC) (elle-la / she-her)" userId="66e9cce0-e37b-4645-a907-f7690bd68dfb" providerId="ADAL" clId="{871AC57A-6E3B-4D85-BA02-8D6F5065EA89}" dt="2024-06-05T17:57:36.566" v="146"/>
          <ac:spMkLst>
            <pc:docMk/>
            <pc:sldMk cId="1903397118" sldId="5004"/>
            <ac:spMk id="316" creationId="{771D1697-D2FE-F0D4-5D52-7F19B752A119}"/>
          </ac:spMkLst>
        </pc:spChg>
        <pc:spChg chg="add mod">
          <ac:chgData name="Jacob, Karen (SPAC/PSPC) (elle-la / she-her)" userId="66e9cce0-e37b-4645-a907-f7690bd68dfb" providerId="ADAL" clId="{871AC57A-6E3B-4D85-BA02-8D6F5065EA89}" dt="2024-06-05T17:57:36.566" v="146"/>
          <ac:spMkLst>
            <pc:docMk/>
            <pc:sldMk cId="1903397118" sldId="5004"/>
            <ac:spMk id="317" creationId="{1D75D7A5-BD9C-A104-7E84-56EE80A95381}"/>
          </ac:spMkLst>
        </pc:spChg>
        <pc:spChg chg="add mod">
          <ac:chgData name="Jacob, Karen (SPAC/PSPC) (elle-la / she-her)" userId="66e9cce0-e37b-4645-a907-f7690bd68dfb" providerId="ADAL" clId="{871AC57A-6E3B-4D85-BA02-8D6F5065EA89}" dt="2024-06-05T17:57:36.566" v="146"/>
          <ac:spMkLst>
            <pc:docMk/>
            <pc:sldMk cId="1903397118" sldId="5004"/>
            <ac:spMk id="318" creationId="{EF5D2575-B618-9FAB-F82A-CDD04C102B39}"/>
          </ac:spMkLst>
        </pc:spChg>
        <pc:spChg chg="mod">
          <ac:chgData name="Jacob, Karen (SPAC/PSPC) (elle-la / she-her)" userId="66e9cce0-e37b-4645-a907-f7690bd68dfb" providerId="ADAL" clId="{871AC57A-6E3B-4D85-BA02-8D6F5065EA89}" dt="2024-06-05T17:57:36.566" v="146"/>
          <ac:spMkLst>
            <pc:docMk/>
            <pc:sldMk cId="1903397118" sldId="5004"/>
            <ac:spMk id="320" creationId="{D87A5790-27FE-C887-FAFD-E174BDC19B8E}"/>
          </ac:spMkLst>
        </pc:spChg>
        <pc:spChg chg="mod">
          <ac:chgData name="Jacob, Karen (SPAC/PSPC) (elle-la / she-her)" userId="66e9cce0-e37b-4645-a907-f7690bd68dfb" providerId="ADAL" clId="{871AC57A-6E3B-4D85-BA02-8D6F5065EA89}" dt="2024-06-05T17:57:36.566" v="146"/>
          <ac:spMkLst>
            <pc:docMk/>
            <pc:sldMk cId="1903397118" sldId="5004"/>
            <ac:spMk id="338" creationId="{F7D9B1DA-E0D2-96FA-31CB-B48F1BBF1161}"/>
          </ac:spMkLst>
        </pc:spChg>
        <pc:spChg chg="mod">
          <ac:chgData name="Jacob, Karen (SPAC/PSPC) (elle-la / she-her)" userId="66e9cce0-e37b-4645-a907-f7690bd68dfb" providerId="ADAL" clId="{871AC57A-6E3B-4D85-BA02-8D6F5065EA89}" dt="2024-06-05T17:57:36.566" v="146"/>
          <ac:spMkLst>
            <pc:docMk/>
            <pc:sldMk cId="1903397118" sldId="5004"/>
            <ac:spMk id="339" creationId="{998CF674-0385-B57E-8E5C-BDF5D99193F0}"/>
          </ac:spMkLst>
        </pc:spChg>
        <pc:spChg chg="mod">
          <ac:chgData name="Jacob, Karen (SPAC/PSPC) (elle-la / she-her)" userId="66e9cce0-e37b-4645-a907-f7690bd68dfb" providerId="ADAL" clId="{871AC57A-6E3B-4D85-BA02-8D6F5065EA89}" dt="2024-06-05T17:57:36.566" v="146"/>
          <ac:spMkLst>
            <pc:docMk/>
            <pc:sldMk cId="1903397118" sldId="5004"/>
            <ac:spMk id="340" creationId="{85DDE41F-2DA4-DDCB-BEE1-F7D498B75C21}"/>
          </ac:spMkLst>
        </pc:spChg>
        <pc:spChg chg="mod">
          <ac:chgData name="Jacob, Karen (SPAC/PSPC) (elle-la / she-her)" userId="66e9cce0-e37b-4645-a907-f7690bd68dfb" providerId="ADAL" clId="{871AC57A-6E3B-4D85-BA02-8D6F5065EA89}" dt="2024-06-05T17:57:36.566" v="146"/>
          <ac:spMkLst>
            <pc:docMk/>
            <pc:sldMk cId="1903397118" sldId="5004"/>
            <ac:spMk id="341" creationId="{7CAE57B8-8868-7A43-2B27-8460417F9F7C}"/>
          </ac:spMkLst>
        </pc:spChg>
        <pc:spChg chg="mod">
          <ac:chgData name="Jacob, Karen (SPAC/PSPC) (elle-la / she-her)" userId="66e9cce0-e37b-4645-a907-f7690bd68dfb" providerId="ADAL" clId="{871AC57A-6E3B-4D85-BA02-8D6F5065EA89}" dt="2024-06-05T17:57:36.566" v="146"/>
          <ac:spMkLst>
            <pc:docMk/>
            <pc:sldMk cId="1903397118" sldId="5004"/>
            <ac:spMk id="342" creationId="{BF5A76E6-D3C3-7FA1-BF95-57AFFC4A7A37}"/>
          </ac:spMkLst>
        </pc:spChg>
        <pc:spChg chg="mod">
          <ac:chgData name="Jacob, Karen (SPAC/PSPC) (elle-la / she-her)" userId="66e9cce0-e37b-4645-a907-f7690bd68dfb" providerId="ADAL" clId="{871AC57A-6E3B-4D85-BA02-8D6F5065EA89}" dt="2024-06-05T17:57:36.566" v="146"/>
          <ac:spMkLst>
            <pc:docMk/>
            <pc:sldMk cId="1903397118" sldId="5004"/>
            <ac:spMk id="343" creationId="{DC448669-F3D2-9DB1-0080-C1FEBA980C05}"/>
          </ac:spMkLst>
        </pc:spChg>
        <pc:spChg chg="mod">
          <ac:chgData name="Jacob, Karen (SPAC/PSPC) (elle-la / she-her)" userId="66e9cce0-e37b-4645-a907-f7690bd68dfb" providerId="ADAL" clId="{871AC57A-6E3B-4D85-BA02-8D6F5065EA89}" dt="2024-06-05T17:57:36.566" v="146"/>
          <ac:spMkLst>
            <pc:docMk/>
            <pc:sldMk cId="1903397118" sldId="5004"/>
            <ac:spMk id="344" creationId="{78F489EF-6194-89FA-E319-A51B3AFB907D}"/>
          </ac:spMkLst>
        </pc:spChg>
        <pc:spChg chg="mod">
          <ac:chgData name="Jacob, Karen (SPAC/PSPC) (elle-la / she-her)" userId="66e9cce0-e37b-4645-a907-f7690bd68dfb" providerId="ADAL" clId="{871AC57A-6E3B-4D85-BA02-8D6F5065EA89}" dt="2024-06-05T17:57:36.566" v="146"/>
          <ac:spMkLst>
            <pc:docMk/>
            <pc:sldMk cId="1903397118" sldId="5004"/>
            <ac:spMk id="345" creationId="{0DFA77BE-1B0E-665E-9A88-891F165DEAF9}"/>
          </ac:spMkLst>
        </pc:spChg>
        <pc:spChg chg="mod">
          <ac:chgData name="Jacob, Karen (SPAC/PSPC) (elle-la / she-her)" userId="66e9cce0-e37b-4645-a907-f7690bd68dfb" providerId="ADAL" clId="{871AC57A-6E3B-4D85-BA02-8D6F5065EA89}" dt="2024-06-05T17:57:36.566" v="146"/>
          <ac:spMkLst>
            <pc:docMk/>
            <pc:sldMk cId="1903397118" sldId="5004"/>
            <ac:spMk id="346" creationId="{3145FF93-7039-36D5-B7BD-EB241200E86C}"/>
          </ac:spMkLst>
        </pc:spChg>
        <pc:spChg chg="mod">
          <ac:chgData name="Jacob, Karen (SPAC/PSPC) (elle-la / she-her)" userId="66e9cce0-e37b-4645-a907-f7690bd68dfb" providerId="ADAL" clId="{871AC57A-6E3B-4D85-BA02-8D6F5065EA89}" dt="2024-06-05T17:57:36.566" v="146"/>
          <ac:spMkLst>
            <pc:docMk/>
            <pc:sldMk cId="1903397118" sldId="5004"/>
            <ac:spMk id="347" creationId="{93C0BB04-8556-F3CC-65DA-86D368A49F41}"/>
          </ac:spMkLst>
        </pc:spChg>
        <pc:spChg chg="mod">
          <ac:chgData name="Jacob, Karen (SPAC/PSPC) (elle-la / she-her)" userId="66e9cce0-e37b-4645-a907-f7690bd68dfb" providerId="ADAL" clId="{871AC57A-6E3B-4D85-BA02-8D6F5065EA89}" dt="2024-06-05T17:57:36.566" v="146"/>
          <ac:spMkLst>
            <pc:docMk/>
            <pc:sldMk cId="1903397118" sldId="5004"/>
            <ac:spMk id="349" creationId="{14FFDEA1-32B4-5DAB-6590-0B2C24849EDB}"/>
          </ac:spMkLst>
        </pc:spChg>
        <pc:spChg chg="mod">
          <ac:chgData name="Jacob, Karen (SPAC/PSPC) (elle-la / she-her)" userId="66e9cce0-e37b-4645-a907-f7690bd68dfb" providerId="ADAL" clId="{871AC57A-6E3B-4D85-BA02-8D6F5065EA89}" dt="2024-06-05T17:57:36.566" v="146"/>
          <ac:spMkLst>
            <pc:docMk/>
            <pc:sldMk cId="1903397118" sldId="5004"/>
            <ac:spMk id="350" creationId="{BADBDD4E-26DF-116A-70DA-08FAB81006CA}"/>
          </ac:spMkLst>
        </pc:spChg>
        <pc:spChg chg="mod">
          <ac:chgData name="Jacob, Karen (SPAC/PSPC) (elle-la / she-her)" userId="66e9cce0-e37b-4645-a907-f7690bd68dfb" providerId="ADAL" clId="{871AC57A-6E3B-4D85-BA02-8D6F5065EA89}" dt="2024-06-05T17:57:36.566" v="146"/>
          <ac:spMkLst>
            <pc:docMk/>
            <pc:sldMk cId="1903397118" sldId="5004"/>
            <ac:spMk id="351" creationId="{B1D87758-02EE-D26B-BC33-6A6C0E04D7E1}"/>
          </ac:spMkLst>
        </pc:spChg>
        <pc:spChg chg="mod">
          <ac:chgData name="Jacob, Karen (SPAC/PSPC) (elle-la / she-her)" userId="66e9cce0-e37b-4645-a907-f7690bd68dfb" providerId="ADAL" clId="{871AC57A-6E3B-4D85-BA02-8D6F5065EA89}" dt="2024-06-05T17:57:36.566" v="146"/>
          <ac:spMkLst>
            <pc:docMk/>
            <pc:sldMk cId="1903397118" sldId="5004"/>
            <ac:spMk id="353" creationId="{C9A6A61C-1F3B-E878-2304-85D4B732F5CA}"/>
          </ac:spMkLst>
        </pc:spChg>
        <pc:spChg chg="mod">
          <ac:chgData name="Jacob, Karen (SPAC/PSPC) (elle-la / she-her)" userId="66e9cce0-e37b-4645-a907-f7690bd68dfb" providerId="ADAL" clId="{871AC57A-6E3B-4D85-BA02-8D6F5065EA89}" dt="2024-06-05T17:57:36.566" v="146"/>
          <ac:spMkLst>
            <pc:docMk/>
            <pc:sldMk cId="1903397118" sldId="5004"/>
            <ac:spMk id="355" creationId="{A47A33AD-0C62-2325-7EF1-DA1CFEBD4A70}"/>
          </ac:spMkLst>
        </pc:spChg>
        <pc:spChg chg="mod">
          <ac:chgData name="Jacob, Karen (SPAC/PSPC) (elle-la / she-her)" userId="66e9cce0-e37b-4645-a907-f7690bd68dfb" providerId="ADAL" clId="{871AC57A-6E3B-4D85-BA02-8D6F5065EA89}" dt="2024-06-05T17:57:36.566" v="146"/>
          <ac:spMkLst>
            <pc:docMk/>
            <pc:sldMk cId="1903397118" sldId="5004"/>
            <ac:spMk id="356" creationId="{68CB24E0-ED79-BBFB-138B-E3B48A85BC46}"/>
          </ac:spMkLst>
        </pc:spChg>
        <pc:spChg chg="mod">
          <ac:chgData name="Jacob, Karen (SPAC/PSPC) (elle-la / she-her)" userId="66e9cce0-e37b-4645-a907-f7690bd68dfb" providerId="ADAL" clId="{871AC57A-6E3B-4D85-BA02-8D6F5065EA89}" dt="2024-06-05T17:57:36.566" v="146"/>
          <ac:spMkLst>
            <pc:docMk/>
            <pc:sldMk cId="1903397118" sldId="5004"/>
            <ac:spMk id="357" creationId="{31919294-ABFB-D1FD-D945-3E6B0EA2C1E9}"/>
          </ac:spMkLst>
        </pc:spChg>
        <pc:spChg chg="mod">
          <ac:chgData name="Jacob, Karen (SPAC/PSPC) (elle-la / she-her)" userId="66e9cce0-e37b-4645-a907-f7690bd68dfb" providerId="ADAL" clId="{871AC57A-6E3B-4D85-BA02-8D6F5065EA89}" dt="2024-06-05T17:57:36.566" v="146"/>
          <ac:spMkLst>
            <pc:docMk/>
            <pc:sldMk cId="1903397118" sldId="5004"/>
            <ac:spMk id="358" creationId="{28B51801-5EE8-88EE-74FB-0D97FAF6FC2B}"/>
          </ac:spMkLst>
        </pc:spChg>
        <pc:spChg chg="mod">
          <ac:chgData name="Jacob, Karen (SPAC/PSPC) (elle-la / she-her)" userId="66e9cce0-e37b-4645-a907-f7690bd68dfb" providerId="ADAL" clId="{871AC57A-6E3B-4D85-BA02-8D6F5065EA89}" dt="2024-06-05T17:57:36.566" v="146"/>
          <ac:spMkLst>
            <pc:docMk/>
            <pc:sldMk cId="1903397118" sldId="5004"/>
            <ac:spMk id="359" creationId="{9C61AB28-EA26-F522-7942-33F9BEC1C4BE}"/>
          </ac:spMkLst>
        </pc:spChg>
        <pc:spChg chg="mod">
          <ac:chgData name="Jacob, Karen (SPAC/PSPC) (elle-la / she-her)" userId="66e9cce0-e37b-4645-a907-f7690bd68dfb" providerId="ADAL" clId="{871AC57A-6E3B-4D85-BA02-8D6F5065EA89}" dt="2024-06-05T17:57:36.566" v="146"/>
          <ac:spMkLst>
            <pc:docMk/>
            <pc:sldMk cId="1903397118" sldId="5004"/>
            <ac:spMk id="360" creationId="{CBDC4266-928F-7827-C884-7B0DA949BC4D}"/>
          </ac:spMkLst>
        </pc:spChg>
        <pc:spChg chg="mod">
          <ac:chgData name="Jacob, Karen (SPAC/PSPC) (elle-la / she-her)" userId="66e9cce0-e37b-4645-a907-f7690bd68dfb" providerId="ADAL" clId="{871AC57A-6E3B-4D85-BA02-8D6F5065EA89}" dt="2024-06-05T17:57:36.566" v="146"/>
          <ac:spMkLst>
            <pc:docMk/>
            <pc:sldMk cId="1903397118" sldId="5004"/>
            <ac:spMk id="361" creationId="{24E47F1E-EC20-DECC-09B4-981C57D1C520}"/>
          </ac:spMkLst>
        </pc:spChg>
        <pc:spChg chg="mod">
          <ac:chgData name="Jacob, Karen (SPAC/PSPC) (elle-la / she-her)" userId="66e9cce0-e37b-4645-a907-f7690bd68dfb" providerId="ADAL" clId="{871AC57A-6E3B-4D85-BA02-8D6F5065EA89}" dt="2024-06-05T17:57:36.566" v="146"/>
          <ac:spMkLst>
            <pc:docMk/>
            <pc:sldMk cId="1903397118" sldId="5004"/>
            <ac:spMk id="362" creationId="{76A1C3CF-0407-440D-C49A-F9BD2CFA1D0F}"/>
          </ac:spMkLst>
        </pc:spChg>
        <pc:spChg chg="mod">
          <ac:chgData name="Jacob, Karen (SPAC/PSPC) (elle-la / she-her)" userId="66e9cce0-e37b-4645-a907-f7690bd68dfb" providerId="ADAL" clId="{871AC57A-6E3B-4D85-BA02-8D6F5065EA89}" dt="2024-06-05T17:57:36.566" v="146"/>
          <ac:spMkLst>
            <pc:docMk/>
            <pc:sldMk cId="1903397118" sldId="5004"/>
            <ac:spMk id="363" creationId="{667492B7-C501-9816-8560-F8D7E95DF2D2}"/>
          </ac:spMkLst>
        </pc:spChg>
        <pc:spChg chg="mod">
          <ac:chgData name="Jacob, Karen (SPAC/PSPC) (elle-la / she-her)" userId="66e9cce0-e37b-4645-a907-f7690bd68dfb" providerId="ADAL" clId="{871AC57A-6E3B-4D85-BA02-8D6F5065EA89}" dt="2024-06-05T17:57:36.566" v="146"/>
          <ac:spMkLst>
            <pc:docMk/>
            <pc:sldMk cId="1903397118" sldId="5004"/>
            <ac:spMk id="364" creationId="{59B7DD87-410C-F060-2CBB-AACB80FC6008}"/>
          </ac:spMkLst>
        </pc:spChg>
        <pc:spChg chg="mod">
          <ac:chgData name="Jacob, Karen (SPAC/PSPC) (elle-la / she-her)" userId="66e9cce0-e37b-4645-a907-f7690bd68dfb" providerId="ADAL" clId="{871AC57A-6E3B-4D85-BA02-8D6F5065EA89}" dt="2024-06-05T17:57:36.566" v="146"/>
          <ac:spMkLst>
            <pc:docMk/>
            <pc:sldMk cId="1903397118" sldId="5004"/>
            <ac:spMk id="365" creationId="{8EE1059E-8E49-4FC0-2393-3E27EC6CA9DD}"/>
          </ac:spMkLst>
        </pc:spChg>
        <pc:spChg chg="mod">
          <ac:chgData name="Jacob, Karen (SPAC/PSPC) (elle-la / she-her)" userId="66e9cce0-e37b-4645-a907-f7690bd68dfb" providerId="ADAL" clId="{871AC57A-6E3B-4D85-BA02-8D6F5065EA89}" dt="2024-06-05T17:57:36.566" v="146"/>
          <ac:spMkLst>
            <pc:docMk/>
            <pc:sldMk cId="1903397118" sldId="5004"/>
            <ac:spMk id="366" creationId="{895B0E11-FDF7-4EE9-CE11-C172CDFA3A3B}"/>
          </ac:spMkLst>
        </pc:spChg>
        <pc:spChg chg="mod">
          <ac:chgData name="Jacob, Karen (SPAC/PSPC) (elle-la / she-her)" userId="66e9cce0-e37b-4645-a907-f7690bd68dfb" providerId="ADAL" clId="{871AC57A-6E3B-4D85-BA02-8D6F5065EA89}" dt="2024-06-05T17:57:36.566" v="146"/>
          <ac:spMkLst>
            <pc:docMk/>
            <pc:sldMk cId="1903397118" sldId="5004"/>
            <ac:spMk id="367" creationId="{422451E4-52DC-A515-8B18-9AD12540021C}"/>
          </ac:spMkLst>
        </pc:spChg>
        <pc:spChg chg="mod">
          <ac:chgData name="Jacob, Karen (SPAC/PSPC) (elle-la / she-her)" userId="66e9cce0-e37b-4645-a907-f7690bd68dfb" providerId="ADAL" clId="{871AC57A-6E3B-4D85-BA02-8D6F5065EA89}" dt="2024-06-05T17:57:36.566" v="146"/>
          <ac:spMkLst>
            <pc:docMk/>
            <pc:sldMk cId="1903397118" sldId="5004"/>
            <ac:spMk id="368" creationId="{403C304D-2037-1CA2-3B9E-428983DC0A78}"/>
          </ac:spMkLst>
        </pc:spChg>
        <pc:spChg chg="mod">
          <ac:chgData name="Jacob, Karen (SPAC/PSPC) (elle-la / she-her)" userId="66e9cce0-e37b-4645-a907-f7690bd68dfb" providerId="ADAL" clId="{871AC57A-6E3B-4D85-BA02-8D6F5065EA89}" dt="2024-06-05T17:57:36.566" v="146"/>
          <ac:spMkLst>
            <pc:docMk/>
            <pc:sldMk cId="1903397118" sldId="5004"/>
            <ac:spMk id="369" creationId="{E1B62F7C-5C3A-0D35-B29C-630C9436367C}"/>
          </ac:spMkLst>
        </pc:spChg>
        <pc:spChg chg="mod">
          <ac:chgData name="Jacob, Karen (SPAC/PSPC) (elle-la / she-her)" userId="66e9cce0-e37b-4645-a907-f7690bd68dfb" providerId="ADAL" clId="{871AC57A-6E3B-4D85-BA02-8D6F5065EA89}" dt="2024-06-05T17:57:36.566" v="146"/>
          <ac:spMkLst>
            <pc:docMk/>
            <pc:sldMk cId="1903397118" sldId="5004"/>
            <ac:spMk id="370" creationId="{27C678A3-D96E-881D-5FC1-1E3937BCA566}"/>
          </ac:spMkLst>
        </pc:spChg>
        <pc:spChg chg="mod">
          <ac:chgData name="Jacob, Karen (SPAC/PSPC) (elle-la / she-her)" userId="66e9cce0-e37b-4645-a907-f7690bd68dfb" providerId="ADAL" clId="{871AC57A-6E3B-4D85-BA02-8D6F5065EA89}" dt="2024-06-05T17:57:36.566" v="146"/>
          <ac:spMkLst>
            <pc:docMk/>
            <pc:sldMk cId="1903397118" sldId="5004"/>
            <ac:spMk id="371" creationId="{8A316BC9-304C-1BE1-EA06-D835A1FE4584}"/>
          </ac:spMkLst>
        </pc:spChg>
        <pc:spChg chg="mod">
          <ac:chgData name="Jacob, Karen (SPAC/PSPC) (elle-la / she-her)" userId="66e9cce0-e37b-4645-a907-f7690bd68dfb" providerId="ADAL" clId="{871AC57A-6E3B-4D85-BA02-8D6F5065EA89}" dt="2024-06-05T17:57:36.566" v="146"/>
          <ac:spMkLst>
            <pc:docMk/>
            <pc:sldMk cId="1903397118" sldId="5004"/>
            <ac:spMk id="372" creationId="{3CF162D7-3917-8845-43B9-7A2E3F2C820A}"/>
          </ac:spMkLst>
        </pc:spChg>
        <pc:spChg chg="mod">
          <ac:chgData name="Jacob, Karen (SPAC/PSPC) (elle-la / she-her)" userId="66e9cce0-e37b-4645-a907-f7690bd68dfb" providerId="ADAL" clId="{871AC57A-6E3B-4D85-BA02-8D6F5065EA89}" dt="2024-06-05T17:57:36.566" v="146"/>
          <ac:spMkLst>
            <pc:docMk/>
            <pc:sldMk cId="1903397118" sldId="5004"/>
            <ac:spMk id="373" creationId="{0EA9EA86-8CF2-A9C9-9209-5181D0436DBA}"/>
          </ac:spMkLst>
        </pc:spChg>
        <pc:spChg chg="mod">
          <ac:chgData name="Jacob, Karen (SPAC/PSPC) (elle-la / she-her)" userId="66e9cce0-e37b-4645-a907-f7690bd68dfb" providerId="ADAL" clId="{871AC57A-6E3B-4D85-BA02-8D6F5065EA89}" dt="2024-06-05T17:57:36.566" v="146"/>
          <ac:spMkLst>
            <pc:docMk/>
            <pc:sldMk cId="1903397118" sldId="5004"/>
            <ac:spMk id="374" creationId="{B0EF5FA7-DE57-C068-6468-3F352B83AC4C}"/>
          </ac:spMkLst>
        </pc:spChg>
        <pc:spChg chg="mod">
          <ac:chgData name="Jacob, Karen (SPAC/PSPC) (elle-la / she-her)" userId="66e9cce0-e37b-4645-a907-f7690bd68dfb" providerId="ADAL" clId="{871AC57A-6E3B-4D85-BA02-8D6F5065EA89}" dt="2024-06-05T17:57:36.566" v="146"/>
          <ac:spMkLst>
            <pc:docMk/>
            <pc:sldMk cId="1903397118" sldId="5004"/>
            <ac:spMk id="375" creationId="{4E7EEB75-ABD9-6DEC-0830-0E055C516EE0}"/>
          </ac:spMkLst>
        </pc:spChg>
        <pc:spChg chg="mod">
          <ac:chgData name="Jacob, Karen (SPAC/PSPC) (elle-la / she-her)" userId="66e9cce0-e37b-4645-a907-f7690bd68dfb" providerId="ADAL" clId="{871AC57A-6E3B-4D85-BA02-8D6F5065EA89}" dt="2024-06-05T17:57:36.566" v="146"/>
          <ac:spMkLst>
            <pc:docMk/>
            <pc:sldMk cId="1903397118" sldId="5004"/>
            <ac:spMk id="376" creationId="{3D976C06-C00B-7EA9-4DAD-4785E81139F7}"/>
          </ac:spMkLst>
        </pc:spChg>
        <pc:spChg chg="mod">
          <ac:chgData name="Jacob, Karen (SPAC/PSPC) (elle-la / she-her)" userId="66e9cce0-e37b-4645-a907-f7690bd68dfb" providerId="ADAL" clId="{871AC57A-6E3B-4D85-BA02-8D6F5065EA89}" dt="2024-06-05T17:57:36.566" v="146"/>
          <ac:spMkLst>
            <pc:docMk/>
            <pc:sldMk cId="1903397118" sldId="5004"/>
            <ac:spMk id="377" creationId="{19D81DD1-5165-AE78-31DC-EF11695F47CE}"/>
          </ac:spMkLst>
        </pc:spChg>
        <pc:spChg chg="mod">
          <ac:chgData name="Jacob, Karen (SPAC/PSPC) (elle-la / she-her)" userId="66e9cce0-e37b-4645-a907-f7690bd68dfb" providerId="ADAL" clId="{871AC57A-6E3B-4D85-BA02-8D6F5065EA89}" dt="2024-06-05T17:57:36.566" v="146"/>
          <ac:spMkLst>
            <pc:docMk/>
            <pc:sldMk cId="1903397118" sldId="5004"/>
            <ac:spMk id="378" creationId="{C4120741-DFBE-786C-57C7-5693E112FC2D}"/>
          </ac:spMkLst>
        </pc:spChg>
        <pc:spChg chg="mod">
          <ac:chgData name="Jacob, Karen (SPAC/PSPC) (elle-la / she-her)" userId="66e9cce0-e37b-4645-a907-f7690bd68dfb" providerId="ADAL" clId="{871AC57A-6E3B-4D85-BA02-8D6F5065EA89}" dt="2024-06-05T17:57:36.566" v="146"/>
          <ac:spMkLst>
            <pc:docMk/>
            <pc:sldMk cId="1903397118" sldId="5004"/>
            <ac:spMk id="379" creationId="{C45C0B17-742E-1669-9042-3D78A83E5F50}"/>
          </ac:spMkLst>
        </pc:spChg>
        <pc:spChg chg="mod">
          <ac:chgData name="Jacob, Karen (SPAC/PSPC) (elle-la / she-her)" userId="66e9cce0-e37b-4645-a907-f7690bd68dfb" providerId="ADAL" clId="{871AC57A-6E3B-4D85-BA02-8D6F5065EA89}" dt="2024-06-05T17:57:36.566" v="146"/>
          <ac:spMkLst>
            <pc:docMk/>
            <pc:sldMk cId="1903397118" sldId="5004"/>
            <ac:spMk id="380" creationId="{3D47252D-FCBF-2BA2-5325-1C9B9D393FC0}"/>
          </ac:spMkLst>
        </pc:spChg>
        <pc:spChg chg="mod">
          <ac:chgData name="Jacob, Karen (SPAC/PSPC) (elle-la / she-her)" userId="66e9cce0-e37b-4645-a907-f7690bd68dfb" providerId="ADAL" clId="{871AC57A-6E3B-4D85-BA02-8D6F5065EA89}" dt="2024-06-05T17:57:36.566" v="146"/>
          <ac:spMkLst>
            <pc:docMk/>
            <pc:sldMk cId="1903397118" sldId="5004"/>
            <ac:spMk id="381" creationId="{FF51663F-8611-3EDA-6664-BF04A12A4277}"/>
          </ac:spMkLst>
        </pc:spChg>
        <pc:spChg chg="mod">
          <ac:chgData name="Jacob, Karen (SPAC/PSPC) (elle-la / she-her)" userId="66e9cce0-e37b-4645-a907-f7690bd68dfb" providerId="ADAL" clId="{871AC57A-6E3B-4D85-BA02-8D6F5065EA89}" dt="2024-06-05T17:57:36.566" v="146"/>
          <ac:spMkLst>
            <pc:docMk/>
            <pc:sldMk cId="1903397118" sldId="5004"/>
            <ac:spMk id="382" creationId="{D09C5E15-DC31-9DCC-4EF2-4F5E0786C8C9}"/>
          </ac:spMkLst>
        </pc:spChg>
        <pc:spChg chg="mod">
          <ac:chgData name="Jacob, Karen (SPAC/PSPC) (elle-la / she-her)" userId="66e9cce0-e37b-4645-a907-f7690bd68dfb" providerId="ADAL" clId="{871AC57A-6E3B-4D85-BA02-8D6F5065EA89}" dt="2024-06-05T17:57:36.566" v="146"/>
          <ac:spMkLst>
            <pc:docMk/>
            <pc:sldMk cId="1903397118" sldId="5004"/>
            <ac:spMk id="383" creationId="{9298A53B-C8C6-047D-02EF-08FE38538373}"/>
          </ac:spMkLst>
        </pc:spChg>
        <pc:spChg chg="mod">
          <ac:chgData name="Jacob, Karen (SPAC/PSPC) (elle-la / she-her)" userId="66e9cce0-e37b-4645-a907-f7690bd68dfb" providerId="ADAL" clId="{871AC57A-6E3B-4D85-BA02-8D6F5065EA89}" dt="2024-06-05T17:57:36.566" v="146"/>
          <ac:spMkLst>
            <pc:docMk/>
            <pc:sldMk cId="1903397118" sldId="5004"/>
            <ac:spMk id="384" creationId="{85B837AB-46E3-E2BA-439C-DD1AEA0EB5F5}"/>
          </ac:spMkLst>
        </pc:spChg>
        <pc:spChg chg="mod">
          <ac:chgData name="Jacob, Karen (SPAC/PSPC) (elle-la / she-her)" userId="66e9cce0-e37b-4645-a907-f7690bd68dfb" providerId="ADAL" clId="{871AC57A-6E3B-4D85-BA02-8D6F5065EA89}" dt="2024-06-05T17:57:36.566" v="146"/>
          <ac:spMkLst>
            <pc:docMk/>
            <pc:sldMk cId="1903397118" sldId="5004"/>
            <ac:spMk id="385" creationId="{45BE4A4F-3B5B-51EE-2455-B6DBB4CEF4CD}"/>
          </ac:spMkLst>
        </pc:spChg>
        <pc:spChg chg="mod">
          <ac:chgData name="Jacob, Karen (SPAC/PSPC) (elle-la / she-her)" userId="66e9cce0-e37b-4645-a907-f7690bd68dfb" providerId="ADAL" clId="{871AC57A-6E3B-4D85-BA02-8D6F5065EA89}" dt="2024-06-05T17:57:36.566" v="146"/>
          <ac:spMkLst>
            <pc:docMk/>
            <pc:sldMk cId="1903397118" sldId="5004"/>
            <ac:spMk id="386" creationId="{5A0D211F-8BD8-E458-8EAD-E795B7C4E1D8}"/>
          </ac:spMkLst>
        </pc:spChg>
        <pc:spChg chg="mod">
          <ac:chgData name="Jacob, Karen (SPAC/PSPC) (elle-la / she-her)" userId="66e9cce0-e37b-4645-a907-f7690bd68dfb" providerId="ADAL" clId="{871AC57A-6E3B-4D85-BA02-8D6F5065EA89}" dt="2024-06-05T17:57:36.566" v="146"/>
          <ac:spMkLst>
            <pc:docMk/>
            <pc:sldMk cId="1903397118" sldId="5004"/>
            <ac:spMk id="387" creationId="{6663921C-4C5E-1FCD-78AD-277532E84D07}"/>
          </ac:spMkLst>
        </pc:spChg>
        <pc:spChg chg="mod">
          <ac:chgData name="Jacob, Karen (SPAC/PSPC) (elle-la / she-her)" userId="66e9cce0-e37b-4645-a907-f7690bd68dfb" providerId="ADAL" clId="{871AC57A-6E3B-4D85-BA02-8D6F5065EA89}" dt="2024-06-05T17:57:36.566" v="146"/>
          <ac:spMkLst>
            <pc:docMk/>
            <pc:sldMk cId="1903397118" sldId="5004"/>
            <ac:spMk id="388" creationId="{518FCC8B-60FF-C916-BEFC-CE5E0B8A83F4}"/>
          </ac:spMkLst>
        </pc:spChg>
        <pc:spChg chg="mod">
          <ac:chgData name="Jacob, Karen (SPAC/PSPC) (elle-la / she-her)" userId="66e9cce0-e37b-4645-a907-f7690bd68dfb" providerId="ADAL" clId="{871AC57A-6E3B-4D85-BA02-8D6F5065EA89}" dt="2024-06-05T17:57:36.566" v="146"/>
          <ac:spMkLst>
            <pc:docMk/>
            <pc:sldMk cId="1903397118" sldId="5004"/>
            <ac:spMk id="389" creationId="{6879F53E-61A9-63D8-C95B-DA6061DCF694}"/>
          </ac:spMkLst>
        </pc:spChg>
        <pc:spChg chg="mod">
          <ac:chgData name="Jacob, Karen (SPAC/PSPC) (elle-la / she-her)" userId="66e9cce0-e37b-4645-a907-f7690bd68dfb" providerId="ADAL" clId="{871AC57A-6E3B-4D85-BA02-8D6F5065EA89}" dt="2024-06-05T17:57:36.566" v="146"/>
          <ac:spMkLst>
            <pc:docMk/>
            <pc:sldMk cId="1903397118" sldId="5004"/>
            <ac:spMk id="390" creationId="{930E5757-296C-D2F4-8314-2E307AEB1C84}"/>
          </ac:spMkLst>
        </pc:spChg>
        <pc:spChg chg="mod">
          <ac:chgData name="Jacob, Karen (SPAC/PSPC) (elle-la / she-her)" userId="66e9cce0-e37b-4645-a907-f7690bd68dfb" providerId="ADAL" clId="{871AC57A-6E3B-4D85-BA02-8D6F5065EA89}" dt="2024-06-05T17:57:36.566" v="146"/>
          <ac:spMkLst>
            <pc:docMk/>
            <pc:sldMk cId="1903397118" sldId="5004"/>
            <ac:spMk id="391" creationId="{70646DC3-1C19-8FFC-F24A-6A71A5DAE76E}"/>
          </ac:spMkLst>
        </pc:spChg>
        <pc:spChg chg="mod">
          <ac:chgData name="Jacob, Karen (SPAC/PSPC) (elle-la / she-her)" userId="66e9cce0-e37b-4645-a907-f7690bd68dfb" providerId="ADAL" clId="{871AC57A-6E3B-4D85-BA02-8D6F5065EA89}" dt="2024-06-05T17:57:36.566" v="146"/>
          <ac:spMkLst>
            <pc:docMk/>
            <pc:sldMk cId="1903397118" sldId="5004"/>
            <ac:spMk id="392" creationId="{F964AA4D-DC98-DA26-98AF-B8BB688C7E92}"/>
          </ac:spMkLst>
        </pc:spChg>
        <pc:spChg chg="mod">
          <ac:chgData name="Jacob, Karen (SPAC/PSPC) (elle-la / she-her)" userId="66e9cce0-e37b-4645-a907-f7690bd68dfb" providerId="ADAL" clId="{871AC57A-6E3B-4D85-BA02-8D6F5065EA89}" dt="2024-06-05T17:57:36.566" v="146"/>
          <ac:spMkLst>
            <pc:docMk/>
            <pc:sldMk cId="1903397118" sldId="5004"/>
            <ac:spMk id="393" creationId="{6290A588-0896-14F6-7D56-0CE8FFED4B04}"/>
          </ac:spMkLst>
        </pc:spChg>
        <pc:spChg chg="mod">
          <ac:chgData name="Jacob, Karen (SPAC/PSPC) (elle-la / she-her)" userId="66e9cce0-e37b-4645-a907-f7690bd68dfb" providerId="ADAL" clId="{871AC57A-6E3B-4D85-BA02-8D6F5065EA89}" dt="2024-06-05T17:57:36.566" v="146"/>
          <ac:spMkLst>
            <pc:docMk/>
            <pc:sldMk cId="1903397118" sldId="5004"/>
            <ac:spMk id="394" creationId="{22D8E642-D703-55F3-BE43-44FBE7997CED}"/>
          </ac:spMkLst>
        </pc:spChg>
        <pc:spChg chg="mod">
          <ac:chgData name="Jacob, Karen (SPAC/PSPC) (elle-la / she-her)" userId="66e9cce0-e37b-4645-a907-f7690bd68dfb" providerId="ADAL" clId="{871AC57A-6E3B-4D85-BA02-8D6F5065EA89}" dt="2024-06-05T17:57:36.566" v="146"/>
          <ac:spMkLst>
            <pc:docMk/>
            <pc:sldMk cId="1903397118" sldId="5004"/>
            <ac:spMk id="396" creationId="{8E0ED31E-ECB8-357F-C7AD-0ACADA6706E8}"/>
          </ac:spMkLst>
        </pc:spChg>
        <pc:spChg chg="mod">
          <ac:chgData name="Jacob, Karen (SPAC/PSPC) (elle-la / she-her)" userId="66e9cce0-e37b-4645-a907-f7690bd68dfb" providerId="ADAL" clId="{871AC57A-6E3B-4D85-BA02-8D6F5065EA89}" dt="2024-06-05T17:57:36.566" v="146"/>
          <ac:spMkLst>
            <pc:docMk/>
            <pc:sldMk cId="1903397118" sldId="5004"/>
            <ac:spMk id="398" creationId="{F532CF84-6CE9-B670-13E5-8CE1409D90A5}"/>
          </ac:spMkLst>
        </pc:spChg>
        <pc:spChg chg="mod">
          <ac:chgData name="Jacob, Karen (SPAC/PSPC) (elle-la / she-her)" userId="66e9cce0-e37b-4645-a907-f7690bd68dfb" providerId="ADAL" clId="{871AC57A-6E3B-4D85-BA02-8D6F5065EA89}" dt="2024-06-05T17:57:36.566" v="146"/>
          <ac:spMkLst>
            <pc:docMk/>
            <pc:sldMk cId="1903397118" sldId="5004"/>
            <ac:spMk id="399" creationId="{004ED8DE-329A-FC9C-01F6-F74978F0ECBC}"/>
          </ac:spMkLst>
        </pc:spChg>
        <pc:spChg chg="mod">
          <ac:chgData name="Jacob, Karen (SPAC/PSPC) (elle-la / she-her)" userId="66e9cce0-e37b-4645-a907-f7690bd68dfb" providerId="ADAL" clId="{871AC57A-6E3B-4D85-BA02-8D6F5065EA89}" dt="2024-06-05T17:57:36.566" v="146"/>
          <ac:spMkLst>
            <pc:docMk/>
            <pc:sldMk cId="1903397118" sldId="5004"/>
            <ac:spMk id="400" creationId="{D135EEC7-337E-D80C-223D-59B355CBBA1E}"/>
          </ac:spMkLst>
        </pc:spChg>
        <pc:spChg chg="mod">
          <ac:chgData name="Jacob, Karen (SPAC/PSPC) (elle-la / she-her)" userId="66e9cce0-e37b-4645-a907-f7690bd68dfb" providerId="ADAL" clId="{871AC57A-6E3B-4D85-BA02-8D6F5065EA89}" dt="2024-06-05T17:57:36.566" v="146"/>
          <ac:spMkLst>
            <pc:docMk/>
            <pc:sldMk cId="1903397118" sldId="5004"/>
            <ac:spMk id="401" creationId="{ACF9E784-722F-8432-AD01-686BE09F401B}"/>
          </ac:spMkLst>
        </pc:spChg>
        <pc:spChg chg="mod">
          <ac:chgData name="Jacob, Karen (SPAC/PSPC) (elle-la / she-her)" userId="66e9cce0-e37b-4645-a907-f7690bd68dfb" providerId="ADAL" clId="{871AC57A-6E3B-4D85-BA02-8D6F5065EA89}" dt="2024-06-05T17:57:36.566" v="146"/>
          <ac:spMkLst>
            <pc:docMk/>
            <pc:sldMk cId="1903397118" sldId="5004"/>
            <ac:spMk id="402" creationId="{08B9A9FC-53D8-2CD5-C486-2A473EEE9741}"/>
          </ac:spMkLst>
        </pc:spChg>
        <pc:spChg chg="mod">
          <ac:chgData name="Jacob, Karen (SPAC/PSPC) (elle-la / she-her)" userId="66e9cce0-e37b-4645-a907-f7690bd68dfb" providerId="ADAL" clId="{871AC57A-6E3B-4D85-BA02-8D6F5065EA89}" dt="2024-06-05T17:57:36.566" v="146"/>
          <ac:spMkLst>
            <pc:docMk/>
            <pc:sldMk cId="1903397118" sldId="5004"/>
            <ac:spMk id="403" creationId="{3461FAA6-BCCC-F6D1-FF1D-58B773B14E64}"/>
          </ac:spMkLst>
        </pc:spChg>
        <pc:spChg chg="mod">
          <ac:chgData name="Jacob, Karen (SPAC/PSPC) (elle-la / she-her)" userId="66e9cce0-e37b-4645-a907-f7690bd68dfb" providerId="ADAL" clId="{871AC57A-6E3B-4D85-BA02-8D6F5065EA89}" dt="2024-06-05T17:57:36.566" v="146"/>
          <ac:spMkLst>
            <pc:docMk/>
            <pc:sldMk cId="1903397118" sldId="5004"/>
            <ac:spMk id="404" creationId="{75F1B132-30A1-62B6-3E22-093C65AF15BB}"/>
          </ac:spMkLst>
        </pc:spChg>
        <pc:spChg chg="mod">
          <ac:chgData name="Jacob, Karen (SPAC/PSPC) (elle-la / she-her)" userId="66e9cce0-e37b-4645-a907-f7690bd68dfb" providerId="ADAL" clId="{871AC57A-6E3B-4D85-BA02-8D6F5065EA89}" dt="2024-06-05T17:57:36.566" v="146"/>
          <ac:spMkLst>
            <pc:docMk/>
            <pc:sldMk cId="1903397118" sldId="5004"/>
            <ac:spMk id="405" creationId="{7FD378A6-345F-E2E7-D453-E655650AA393}"/>
          </ac:spMkLst>
        </pc:spChg>
        <pc:spChg chg="mod">
          <ac:chgData name="Jacob, Karen (SPAC/PSPC) (elle-la / she-her)" userId="66e9cce0-e37b-4645-a907-f7690bd68dfb" providerId="ADAL" clId="{871AC57A-6E3B-4D85-BA02-8D6F5065EA89}" dt="2024-06-05T17:57:36.566" v="146"/>
          <ac:spMkLst>
            <pc:docMk/>
            <pc:sldMk cId="1903397118" sldId="5004"/>
            <ac:spMk id="406" creationId="{DA800345-BE79-EC4D-7E58-847F894716BC}"/>
          </ac:spMkLst>
        </pc:spChg>
        <pc:spChg chg="mod">
          <ac:chgData name="Jacob, Karen (SPAC/PSPC) (elle-la / she-her)" userId="66e9cce0-e37b-4645-a907-f7690bd68dfb" providerId="ADAL" clId="{871AC57A-6E3B-4D85-BA02-8D6F5065EA89}" dt="2024-06-05T17:57:36.566" v="146"/>
          <ac:spMkLst>
            <pc:docMk/>
            <pc:sldMk cId="1903397118" sldId="5004"/>
            <ac:spMk id="407" creationId="{F15C3B30-31F6-2624-A307-CB256E41E652}"/>
          </ac:spMkLst>
        </pc:spChg>
        <pc:spChg chg="mod">
          <ac:chgData name="Jacob, Karen (SPAC/PSPC) (elle-la / she-her)" userId="66e9cce0-e37b-4645-a907-f7690bd68dfb" providerId="ADAL" clId="{871AC57A-6E3B-4D85-BA02-8D6F5065EA89}" dt="2024-06-05T17:57:36.566" v="146"/>
          <ac:spMkLst>
            <pc:docMk/>
            <pc:sldMk cId="1903397118" sldId="5004"/>
            <ac:spMk id="408" creationId="{3B7FE0F3-FD5A-F5B3-C1E1-D75DC1EF22A7}"/>
          </ac:spMkLst>
        </pc:spChg>
        <pc:spChg chg="mod">
          <ac:chgData name="Jacob, Karen (SPAC/PSPC) (elle-la / she-her)" userId="66e9cce0-e37b-4645-a907-f7690bd68dfb" providerId="ADAL" clId="{871AC57A-6E3B-4D85-BA02-8D6F5065EA89}" dt="2024-06-05T17:57:36.566" v="146"/>
          <ac:spMkLst>
            <pc:docMk/>
            <pc:sldMk cId="1903397118" sldId="5004"/>
            <ac:spMk id="409" creationId="{0FA14930-CFBB-A749-53A5-D596323ACDE3}"/>
          </ac:spMkLst>
        </pc:spChg>
        <pc:spChg chg="mod">
          <ac:chgData name="Jacob, Karen (SPAC/PSPC) (elle-la / she-her)" userId="66e9cce0-e37b-4645-a907-f7690bd68dfb" providerId="ADAL" clId="{871AC57A-6E3B-4D85-BA02-8D6F5065EA89}" dt="2024-06-05T17:57:36.566" v="146"/>
          <ac:spMkLst>
            <pc:docMk/>
            <pc:sldMk cId="1903397118" sldId="5004"/>
            <ac:spMk id="410" creationId="{A683DC47-DF7D-C873-2485-31A84F7764ED}"/>
          </ac:spMkLst>
        </pc:spChg>
        <pc:spChg chg="mod">
          <ac:chgData name="Jacob, Karen (SPAC/PSPC) (elle-la / she-her)" userId="66e9cce0-e37b-4645-a907-f7690bd68dfb" providerId="ADAL" clId="{871AC57A-6E3B-4D85-BA02-8D6F5065EA89}" dt="2024-06-05T17:57:36.566" v="146"/>
          <ac:spMkLst>
            <pc:docMk/>
            <pc:sldMk cId="1903397118" sldId="5004"/>
            <ac:spMk id="411" creationId="{AAA82E85-139B-B088-A842-3E336EA250A7}"/>
          </ac:spMkLst>
        </pc:spChg>
        <pc:spChg chg="mod">
          <ac:chgData name="Jacob, Karen (SPAC/PSPC) (elle-la / she-her)" userId="66e9cce0-e37b-4645-a907-f7690bd68dfb" providerId="ADAL" clId="{871AC57A-6E3B-4D85-BA02-8D6F5065EA89}" dt="2024-06-05T17:57:36.566" v="146"/>
          <ac:spMkLst>
            <pc:docMk/>
            <pc:sldMk cId="1903397118" sldId="5004"/>
            <ac:spMk id="412" creationId="{B672E6B1-81B6-171D-2B40-B72D7FCF608A}"/>
          </ac:spMkLst>
        </pc:spChg>
        <pc:spChg chg="mod">
          <ac:chgData name="Jacob, Karen (SPAC/PSPC) (elle-la / she-her)" userId="66e9cce0-e37b-4645-a907-f7690bd68dfb" providerId="ADAL" clId="{871AC57A-6E3B-4D85-BA02-8D6F5065EA89}" dt="2024-06-05T17:57:36.566" v="146"/>
          <ac:spMkLst>
            <pc:docMk/>
            <pc:sldMk cId="1903397118" sldId="5004"/>
            <ac:spMk id="413" creationId="{A8F8773D-1B52-7FAB-EFA5-652F8A435D63}"/>
          </ac:spMkLst>
        </pc:spChg>
        <pc:spChg chg="mod">
          <ac:chgData name="Jacob, Karen (SPAC/PSPC) (elle-la / she-her)" userId="66e9cce0-e37b-4645-a907-f7690bd68dfb" providerId="ADAL" clId="{871AC57A-6E3B-4D85-BA02-8D6F5065EA89}" dt="2024-06-05T17:57:36.566" v="146"/>
          <ac:spMkLst>
            <pc:docMk/>
            <pc:sldMk cId="1903397118" sldId="5004"/>
            <ac:spMk id="414" creationId="{CE4772F8-DC28-6D96-6773-A8919C9EB357}"/>
          </ac:spMkLst>
        </pc:spChg>
        <pc:spChg chg="mod">
          <ac:chgData name="Jacob, Karen (SPAC/PSPC) (elle-la / she-her)" userId="66e9cce0-e37b-4645-a907-f7690bd68dfb" providerId="ADAL" clId="{871AC57A-6E3B-4D85-BA02-8D6F5065EA89}" dt="2024-06-05T17:57:36.566" v="146"/>
          <ac:spMkLst>
            <pc:docMk/>
            <pc:sldMk cId="1903397118" sldId="5004"/>
            <ac:spMk id="415" creationId="{16C8AEFA-31E6-F477-E922-D1826D11EEF2}"/>
          </ac:spMkLst>
        </pc:spChg>
        <pc:spChg chg="mod">
          <ac:chgData name="Jacob, Karen (SPAC/PSPC) (elle-la / she-her)" userId="66e9cce0-e37b-4645-a907-f7690bd68dfb" providerId="ADAL" clId="{871AC57A-6E3B-4D85-BA02-8D6F5065EA89}" dt="2024-06-05T17:57:36.566" v="146"/>
          <ac:spMkLst>
            <pc:docMk/>
            <pc:sldMk cId="1903397118" sldId="5004"/>
            <ac:spMk id="416" creationId="{02E11AF2-7511-D94F-500A-C73C85791688}"/>
          </ac:spMkLst>
        </pc:spChg>
        <pc:spChg chg="mod">
          <ac:chgData name="Jacob, Karen (SPAC/PSPC) (elle-la / she-her)" userId="66e9cce0-e37b-4645-a907-f7690bd68dfb" providerId="ADAL" clId="{871AC57A-6E3B-4D85-BA02-8D6F5065EA89}" dt="2024-06-05T17:57:36.566" v="146"/>
          <ac:spMkLst>
            <pc:docMk/>
            <pc:sldMk cId="1903397118" sldId="5004"/>
            <ac:spMk id="417" creationId="{EC4089EF-1F0A-EBC1-6E7F-94C8DF4E8FE5}"/>
          </ac:spMkLst>
        </pc:spChg>
        <pc:spChg chg="mod">
          <ac:chgData name="Jacob, Karen (SPAC/PSPC) (elle-la / she-her)" userId="66e9cce0-e37b-4645-a907-f7690bd68dfb" providerId="ADAL" clId="{871AC57A-6E3B-4D85-BA02-8D6F5065EA89}" dt="2024-06-05T17:57:36.566" v="146"/>
          <ac:spMkLst>
            <pc:docMk/>
            <pc:sldMk cId="1903397118" sldId="5004"/>
            <ac:spMk id="418" creationId="{8E573EF2-2B10-9683-B462-AD2433C53499}"/>
          </ac:spMkLst>
        </pc:spChg>
        <pc:spChg chg="mod">
          <ac:chgData name="Jacob, Karen (SPAC/PSPC) (elle-la / she-her)" userId="66e9cce0-e37b-4645-a907-f7690bd68dfb" providerId="ADAL" clId="{871AC57A-6E3B-4D85-BA02-8D6F5065EA89}" dt="2024-06-05T17:57:36.566" v="146"/>
          <ac:spMkLst>
            <pc:docMk/>
            <pc:sldMk cId="1903397118" sldId="5004"/>
            <ac:spMk id="419" creationId="{A20A6F5F-6BDA-66DC-E0FE-08D7E901BA8D}"/>
          </ac:spMkLst>
        </pc:spChg>
        <pc:spChg chg="mod">
          <ac:chgData name="Jacob, Karen (SPAC/PSPC) (elle-la / she-her)" userId="66e9cce0-e37b-4645-a907-f7690bd68dfb" providerId="ADAL" clId="{871AC57A-6E3B-4D85-BA02-8D6F5065EA89}" dt="2024-06-05T17:57:36.566" v="146"/>
          <ac:spMkLst>
            <pc:docMk/>
            <pc:sldMk cId="1903397118" sldId="5004"/>
            <ac:spMk id="420" creationId="{706670F8-D9F9-400C-B04F-D3D9EE3761B2}"/>
          </ac:spMkLst>
        </pc:spChg>
        <pc:spChg chg="mod">
          <ac:chgData name="Jacob, Karen (SPAC/PSPC) (elle-la / she-her)" userId="66e9cce0-e37b-4645-a907-f7690bd68dfb" providerId="ADAL" clId="{871AC57A-6E3B-4D85-BA02-8D6F5065EA89}" dt="2024-06-05T17:57:36.566" v="146"/>
          <ac:spMkLst>
            <pc:docMk/>
            <pc:sldMk cId="1903397118" sldId="5004"/>
            <ac:spMk id="421" creationId="{22F2DD6A-BE16-DFEE-BCF7-D2DD664C4101}"/>
          </ac:spMkLst>
        </pc:spChg>
        <pc:spChg chg="mod">
          <ac:chgData name="Jacob, Karen (SPAC/PSPC) (elle-la / she-her)" userId="66e9cce0-e37b-4645-a907-f7690bd68dfb" providerId="ADAL" clId="{871AC57A-6E3B-4D85-BA02-8D6F5065EA89}" dt="2024-06-05T17:57:36.566" v="146"/>
          <ac:spMkLst>
            <pc:docMk/>
            <pc:sldMk cId="1903397118" sldId="5004"/>
            <ac:spMk id="422" creationId="{70C573F4-DF4F-1F01-EA5A-9E5A0A947789}"/>
          </ac:spMkLst>
        </pc:spChg>
        <pc:spChg chg="mod">
          <ac:chgData name="Jacob, Karen (SPAC/PSPC) (elle-la / she-her)" userId="66e9cce0-e37b-4645-a907-f7690bd68dfb" providerId="ADAL" clId="{871AC57A-6E3B-4D85-BA02-8D6F5065EA89}" dt="2024-06-05T17:57:36.566" v="146"/>
          <ac:spMkLst>
            <pc:docMk/>
            <pc:sldMk cId="1903397118" sldId="5004"/>
            <ac:spMk id="423" creationId="{507C65E3-353E-BB81-16F9-E5FF1A4E9CA3}"/>
          </ac:spMkLst>
        </pc:spChg>
        <pc:spChg chg="mod">
          <ac:chgData name="Jacob, Karen (SPAC/PSPC) (elle-la / she-her)" userId="66e9cce0-e37b-4645-a907-f7690bd68dfb" providerId="ADAL" clId="{871AC57A-6E3B-4D85-BA02-8D6F5065EA89}" dt="2024-06-05T17:57:36.566" v="146"/>
          <ac:spMkLst>
            <pc:docMk/>
            <pc:sldMk cId="1903397118" sldId="5004"/>
            <ac:spMk id="424" creationId="{4739BC80-4515-8999-8344-132BBA3675C8}"/>
          </ac:spMkLst>
        </pc:spChg>
        <pc:spChg chg="mod">
          <ac:chgData name="Jacob, Karen (SPAC/PSPC) (elle-la / she-her)" userId="66e9cce0-e37b-4645-a907-f7690bd68dfb" providerId="ADAL" clId="{871AC57A-6E3B-4D85-BA02-8D6F5065EA89}" dt="2024-06-05T17:57:36.566" v="146"/>
          <ac:spMkLst>
            <pc:docMk/>
            <pc:sldMk cId="1903397118" sldId="5004"/>
            <ac:spMk id="425" creationId="{9754EEC3-4D23-6098-A02A-A2654628C1F3}"/>
          </ac:spMkLst>
        </pc:spChg>
        <pc:spChg chg="mod">
          <ac:chgData name="Jacob, Karen (SPAC/PSPC) (elle-la / she-her)" userId="66e9cce0-e37b-4645-a907-f7690bd68dfb" providerId="ADAL" clId="{871AC57A-6E3B-4D85-BA02-8D6F5065EA89}" dt="2024-06-05T17:57:36.566" v="146"/>
          <ac:spMkLst>
            <pc:docMk/>
            <pc:sldMk cId="1903397118" sldId="5004"/>
            <ac:spMk id="426" creationId="{8DDB8EAA-8AC0-7604-5776-72AEA67ED775}"/>
          </ac:spMkLst>
        </pc:spChg>
        <pc:spChg chg="mod">
          <ac:chgData name="Jacob, Karen (SPAC/PSPC) (elle-la / she-her)" userId="66e9cce0-e37b-4645-a907-f7690bd68dfb" providerId="ADAL" clId="{871AC57A-6E3B-4D85-BA02-8D6F5065EA89}" dt="2024-06-05T17:57:36.566" v="146"/>
          <ac:spMkLst>
            <pc:docMk/>
            <pc:sldMk cId="1903397118" sldId="5004"/>
            <ac:spMk id="427" creationId="{BD2EE1EC-4342-9775-85BD-DBC8C6A0A679}"/>
          </ac:spMkLst>
        </pc:spChg>
        <pc:spChg chg="mod">
          <ac:chgData name="Jacob, Karen (SPAC/PSPC) (elle-la / she-her)" userId="66e9cce0-e37b-4645-a907-f7690bd68dfb" providerId="ADAL" clId="{871AC57A-6E3B-4D85-BA02-8D6F5065EA89}" dt="2024-06-05T17:57:36.566" v="146"/>
          <ac:spMkLst>
            <pc:docMk/>
            <pc:sldMk cId="1903397118" sldId="5004"/>
            <ac:spMk id="428" creationId="{C8BF96CB-EE5F-C5D0-7343-FE91BF7EF8DF}"/>
          </ac:spMkLst>
        </pc:spChg>
        <pc:spChg chg="mod">
          <ac:chgData name="Jacob, Karen (SPAC/PSPC) (elle-la / she-her)" userId="66e9cce0-e37b-4645-a907-f7690bd68dfb" providerId="ADAL" clId="{871AC57A-6E3B-4D85-BA02-8D6F5065EA89}" dt="2024-06-05T17:57:36.566" v="146"/>
          <ac:spMkLst>
            <pc:docMk/>
            <pc:sldMk cId="1903397118" sldId="5004"/>
            <ac:spMk id="429" creationId="{3DC21C37-84B4-4D3D-8870-0B31D6D58468}"/>
          </ac:spMkLst>
        </pc:spChg>
        <pc:spChg chg="mod">
          <ac:chgData name="Jacob, Karen (SPAC/PSPC) (elle-la / she-her)" userId="66e9cce0-e37b-4645-a907-f7690bd68dfb" providerId="ADAL" clId="{871AC57A-6E3B-4D85-BA02-8D6F5065EA89}" dt="2024-06-05T17:57:36.566" v="146"/>
          <ac:spMkLst>
            <pc:docMk/>
            <pc:sldMk cId="1903397118" sldId="5004"/>
            <ac:spMk id="430" creationId="{1CADE64F-72BC-36B9-D47E-D73C35F65AA7}"/>
          </ac:spMkLst>
        </pc:spChg>
        <pc:spChg chg="mod">
          <ac:chgData name="Jacob, Karen (SPAC/PSPC) (elle-la / she-her)" userId="66e9cce0-e37b-4645-a907-f7690bd68dfb" providerId="ADAL" clId="{871AC57A-6E3B-4D85-BA02-8D6F5065EA89}" dt="2024-06-05T17:57:36.566" v="146"/>
          <ac:spMkLst>
            <pc:docMk/>
            <pc:sldMk cId="1903397118" sldId="5004"/>
            <ac:spMk id="431" creationId="{6D671A18-7D41-6642-9F61-C54A7DF9FC38}"/>
          </ac:spMkLst>
        </pc:spChg>
        <pc:spChg chg="mod">
          <ac:chgData name="Jacob, Karen (SPAC/PSPC) (elle-la / she-her)" userId="66e9cce0-e37b-4645-a907-f7690bd68dfb" providerId="ADAL" clId="{871AC57A-6E3B-4D85-BA02-8D6F5065EA89}" dt="2024-06-05T17:57:36.566" v="146"/>
          <ac:spMkLst>
            <pc:docMk/>
            <pc:sldMk cId="1903397118" sldId="5004"/>
            <ac:spMk id="432" creationId="{CEA2FBFB-C57B-AE17-167F-D9EF7028C75E}"/>
          </ac:spMkLst>
        </pc:spChg>
        <pc:spChg chg="mod">
          <ac:chgData name="Jacob, Karen (SPAC/PSPC) (elle-la / she-her)" userId="66e9cce0-e37b-4645-a907-f7690bd68dfb" providerId="ADAL" clId="{871AC57A-6E3B-4D85-BA02-8D6F5065EA89}" dt="2024-06-05T17:57:36.566" v="146"/>
          <ac:spMkLst>
            <pc:docMk/>
            <pc:sldMk cId="1903397118" sldId="5004"/>
            <ac:spMk id="433" creationId="{774E6F06-1ECD-D017-E602-ECD947392526}"/>
          </ac:spMkLst>
        </pc:spChg>
        <pc:spChg chg="mod">
          <ac:chgData name="Jacob, Karen (SPAC/PSPC) (elle-la / she-her)" userId="66e9cce0-e37b-4645-a907-f7690bd68dfb" providerId="ADAL" clId="{871AC57A-6E3B-4D85-BA02-8D6F5065EA89}" dt="2024-06-05T17:57:36.566" v="146"/>
          <ac:spMkLst>
            <pc:docMk/>
            <pc:sldMk cId="1903397118" sldId="5004"/>
            <ac:spMk id="434" creationId="{23E79F64-CE0F-B583-1D2E-32AE9002121C}"/>
          </ac:spMkLst>
        </pc:spChg>
        <pc:spChg chg="mod">
          <ac:chgData name="Jacob, Karen (SPAC/PSPC) (elle-la / she-her)" userId="66e9cce0-e37b-4645-a907-f7690bd68dfb" providerId="ADAL" clId="{871AC57A-6E3B-4D85-BA02-8D6F5065EA89}" dt="2024-06-05T17:57:36.566" v="146"/>
          <ac:spMkLst>
            <pc:docMk/>
            <pc:sldMk cId="1903397118" sldId="5004"/>
            <ac:spMk id="435" creationId="{2A1513E5-EE06-09F3-7542-CBF238883836}"/>
          </ac:spMkLst>
        </pc:spChg>
        <pc:spChg chg="mod">
          <ac:chgData name="Jacob, Karen (SPAC/PSPC) (elle-la / she-her)" userId="66e9cce0-e37b-4645-a907-f7690bd68dfb" providerId="ADAL" clId="{871AC57A-6E3B-4D85-BA02-8D6F5065EA89}" dt="2024-06-05T17:57:36.566" v="146"/>
          <ac:spMkLst>
            <pc:docMk/>
            <pc:sldMk cId="1903397118" sldId="5004"/>
            <ac:spMk id="436" creationId="{2F291647-9054-E103-D387-1FF611A2EC22}"/>
          </ac:spMkLst>
        </pc:spChg>
        <pc:spChg chg="mod">
          <ac:chgData name="Jacob, Karen (SPAC/PSPC) (elle-la / she-her)" userId="66e9cce0-e37b-4645-a907-f7690bd68dfb" providerId="ADAL" clId="{871AC57A-6E3B-4D85-BA02-8D6F5065EA89}" dt="2024-06-05T17:57:36.566" v="146"/>
          <ac:spMkLst>
            <pc:docMk/>
            <pc:sldMk cId="1903397118" sldId="5004"/>
            <ac:spMk id="437" creationId="{10930654-5913-1124-DCF0-AA18BC2B28E5}"/>
          </ac:spMkLst>
        </pc:spChg>
        <pc:spChg chg="add mod">
          <ac:chgData name="Jacob, Karen (SPAC/PSPC) (elle-la / she-her)" userId="66e9cce0-e37b-4645-a907-f7690bd68dfb" providerId="ADAL" clId="{871AC57A-6E3B-4D85-BA02-8D6F5065EA89}" dt="2024-06-05T17:57:36.566" v="146"/>
          <ac:spMkLst>
            <pc:docMk/>
            <pc:sldMk cId="1903397118" sldId="5004"/>
            <ac:spMk id="438" creationId="{2DE5F08E-29BE-2F61-31DC-7D58A658F1A9}"/>
          </ac:spMkLst>
        </pc:spChg>
        <pc:spChg chg="mod">
          <ac:chgData name="Jacob, Karen (SPAC/PSPC) (elle-la / she-her)" userId="66e9cce0-e37b-4645-a907-f7690bd68dfb" providerId="ADAL" clId="{871AC57A-6E3B-4D85-BA02-8D6F5065EA89}" dt="2024-06-05T17:57:36.566" v="146"/>
          <ac:spMkLst>
            <pc:docMk/>
            <pc:sldMk cId="1903397118" sldId="5004"/>
            <ac:spMk id="441" creationId="{1F4190D5-0A9C-64F5-E6F7-292F12C864B5}"/>
          </ac:spMkLst>
        </pc:spChg>
        <pc:spChg chg="mod">
          <ac:chgData name="Jacob, Karen (SPAC/PSPC) (elle-la / she-her)" userId="66e9cce0-e37b-4645-a907-f7690bd68dfb" providerId="ADAL" clId="{871AC57A-6E3B-4D85-BA02-8D6F5065EA89}" dt="2024-06-05T17:57:36.566" v="146"/>
          <ac:spMkLst>
            <pc:docMk/>
            <pc:sldMk cId="1903397118" sldId="5004"/>
            <ac:spMk id="442" creationId="{185DAD69-88CC-B0B9-14AD-9491ABD4B19A}"/>
          </ac:spMkLst>
        </pc:spChg>
        <pc:spChg chg="mod">
          <ac:chgData name="Jacob, Karen (SPAC/PSPC) (elle-la / she-her)" userId="66e9cce0-e37b-4645-a907-f7690bd68dfb" providerId="ADAL" clId="{871AC57A-6E3B-4D85-BA02-8D6F5065EA89}" dt="2024-06-05T17:57:36.566" v="146"/>
          <ac:spMkLst>
            <pc:docMk/>
            <pc:sldMk cId="1903397118" sldId="5004"/>
            <ac:spMk id="443" creationId="{453F8936-09E6-0B41-342C-95821CB950BD}"/>
          </ac:spMkLst>
        </pc:spChg>
        <pc:spChg chg="mod">
          <ac:chgData name="Jacob, Karen (SPAC/PSPC) (elle-la / she-her)" userId="66e9cce0-e37b-4645-a907-f7690bd68dfb" providerId="ADAL" clId="{871AC57A-6E3B-4D85-BA02-8D6F5065EA89}" dt="2024-06-05T17:57:36.566" v="146"/>
          <ac:spMkLst>
            <pc:docMk/>
            <pc:sldMk cId="1903397118" sldId="5004"/>
            <ac:spMk id="444" creationId="{C8740702-FD8E-981C-BBDE-0B9DD50C90BF}"/>
          </ac:spMkLst>
        </pc:spChg>
        <pc:spChg chg="mod">
          <ac:chgData name="Jacob, Karen (SPAC/PSPC) (elle-la / she-her)" userId="66e9cce0-e37b-4645-a907-f7690bd68dfb" providerId="ADAL" clId="{871AC57A-6E3B-4D85-BA02-8D6F5065EA89}" dt="2024-06-05T17:57:36.566" v="146"/>
          <ac:spMkLst>
            <pc:docMk/>
            <pc:sldMk cId="1903397118" sldId="5004"/>
            <ac:spMk id="445" creationId="{81347A78-1DF1-0AA7-73C7-B8E4F7581DF7}"/>
          </ac:spMkLst>
        </pc:spChg>
        <pc:spChg chg="add mod">
          <ac:chgData name="Jacob, Karen (SPAC/PSPC) (elle-la / she-her)" userId="66e9cce0-e37b-4645-a907-f7690bd68dfb" providerId="ADAL" clId="{871AC57A-6E3B-4D85-BA02-8D6F5065EA89}" dt="2024-06-05T17:57:36.566" v="146"/>
          <ac:spMkLst>
            <pc:docMk/>
            <pc:sldMk cId="1903397118" sldId="5004"/>
            <ac:spMk id="446" creationId="{EBB694C5-6E0A-CB29-0BD4-3274CC17BB0D}"/>
          </ac:spMkLst>
        </pc:spChg>
        <pc:grpChg chg="add mod">
          <ac:chgData name="Jacob, Karen (SPAC/PSPC) (elle-la / she-her)" userId="66e9cce0-e37b-4645-a907-f7690bd68dfb" providerId="ADAL" clId="{871AC57A-6E3B-4D85-BA02-8D6F5065EA89}" dt="2024-06-05T17:57:36.566" v="146"/>
          <ac:grpSpMkLst>
            <pc:docMk/>
            <pc:sldMk cId="1903397118" sldId="5004"/>
            <ac:grpSpMk id="4" creationId="{2D9CC1AA-2B60-5726-2572-F2BAB00E0AEC}"/>
          </ac:grpSpMkLst>
        </pc:grpChg>
        <pc:grpChg chg="add mod">
          <ac:chgData name="Jacob, Karen (SPAC/PSPC) (elle-la / she-her)" userId="66e9cce0-e37b-4645-a907-f7690bd68dfb" providerId="ADAL" clId="{871AC57A-6E3B-4D85-BA02-8D6F5065EA89}" dt="2024-06-05T17:57:36.566" v="146"/>
          <ac:grpSpMkLst>
            <pc:docMk/>
            <pc:sldMk cId="1903397118" sldId="5004"/>
            <ac:grpSpMk id="7" creationId="{7394FCD1-7545-C292-695B-16209F7B9C92}"/>
          </ac:grpSpMkLst>
        </pc:grpChg>
        <pc:grpChg chg="add mod">
          <ac:chgData name="Jacob, Karen (SPAC/PSPC) (elle-la / she-her)" userId="66e9cce0-e37b-4645-a907-f7690bd68dfb" providerId="ADAL" clId="{871AC57A-6E3B-4D85-BA02-8D6F5065EA89}" dt="2024-06-05T17:57:36.566" v="146"/>
          <ac:grpSpMkLst>
            <pc:docMk/>
            <pc:sldMk cId="1903397118" sldId="5004"/>
            <ac:grpSpMk id="12" creationId="{03CC5851-A15F-4B14-72BA-369E1483E174}"/>
          </ac:grpSpMkLst>
        </pc:grpChg>
        <pc:grpChg chg="mod">
          <ac:chgData name="Jacob, Karen (SPAC/PSPC) (elle-la / she-her)" userId="66e9cce0-e37b-4645-a907-f7690bd68dfb" providerId="ADAL" clId="{871AC57A-6E3B-4D85-BA02-8D6F5065EA89}" dt="2024-06-05T17:57:36.566" v="146"/>
          <ac:grpSpMkLst>
            <pc:docMk/>
            <pc:sldMk cId="1903397118" sldId="5004"/>
            <ac:grpSpMk id="14" creationId="{7FD756D3-C161-8437-ACAB-2C780A0240BC}"/>
          </ac:grpSpMkLst>
        </pc:grpChg>
        <pc:grpChg chg="mod">
          <ac:chgData name="Jacob, Karen (SPAC/PSPC) (elle-la / she-her)" userId="66e9cce0-e37b-4645-a907-f7690bd68dfb" providerId="ADAL" clId="{871AC57A-6E3B-4D85-BA02-8D6F5065EA89}" dt="2024-06-05T17:57:36.566" v="146"/>
          <ac:grpSpMkLst>
            <pc:docMk/>
            <pc:sldMk cId="1903397118" sldId="5004"/>
            <ac:grpSpMk id="15" creationId="{C271B44C-093C-96C5-9BD0-841DE024B0C5}"/>
          </ac:grpSpMkLst>
        </pc:grpChg>
        <pc:grpChg chg="mod">
          <ac:chgData name="Jacob, Karen (SPAC/PSPC) (elle-la / she-her)" userId="66e9cce0-e37b-4645-a907-f7690bd68dfb" providerId="ADAL" clId="{871AC57A-6E3B-4D85-BA02-8D6F5065EA89}" dt="2024-06-05T17:57:36.566" v="146"/>
          <ac:grpSpMkLst>
            <pc:docMk/>
            <pc:sldMk cId="1903397118" sldId="5004"/>
            <ac:grpSpMk id="16" creationId="{712B8CD1-D44A-EA92-0EFB-EB10486681B1}"/>
          </ac:grpSpMkLst>
        </pc:grpChg>
        <pc:grpChg chg="mod">
          <ac:chgData name="Jacob, Karen (SPAC/PSPC) (elle-la / she-her)" userId="66e9cce0-e37b-4645-a907-f7690bd68dfb" providerId="ADAL" clId="{871AC57A-6E3B-4D85-BA02-8D6F5065EA89}" dt="2024-06-05T17:57:36.566" v="146"/>
          <ac:grpSpMkLst>
            <pc:docMk/>
            <pc:sldMk cId="1903397118" sldId="5004"/>
            <ac:grpSpMk id="17" creationId="{413D1400-D5B9-BC9B-4236-436DAD917E3F}"/>
          </ac:grpSpMkLst>
        </pc:grpChg>
        <pc:grpChg chg="mod">
          <ac:chgData name="Jacob, Karen (SPAC/PSPC) (elle-la / she-her)" userId="66e9cce0-e37b-4645-a907-f7690bd68dfb" providerId="ADAL" clId="{871AC57A-6E3B-4D85-BA02-8D6F5065EA89}" dt="2024-06-05T17:57:36.566" v="146"/>
          <ac:grpSpMkLst>
            <pc:docMk/>
            <pc:sldMk cId="1903397118" sldId="5004"/>
            <ac:grpSpMk id="25" creationId="{88C61A2C-F87A-0382-CAD6-DD4038C8D14F}"/>
          </ac:grpSpMkLst>
        </pc:grpChg>
        <pc:grpChg chg="mod">
          <ac:chgData name="Jacob, Karen (SPAC/PSPC) (elle-la / she-her)" userId="66e9cce0-e37b-4645-a907-f7690bd68dfb" providerId="ADAL" clId="{871AC57A-6E3B-4D85-BA02-8D6F5065EA89}" dt="2024-06-05T17:57:36.566" v="146"/>
          <ac:grpSpMkLst>
            <pc:docMk/>
            <pc:sldMk cId="1903397118" sldId="5004"/>
            <ac:grpSpMk id="68" creationId="{8D012504-8C0C-F7BC-7281-613E0DDC1A79}"/>
          </ac:grpSpMkLst>
        </pc:grpChg>
        <pc:grpChg chg="mod">
          <ac:chgData name="Jacob, Karen (SPAC/PSPC) (elle-la / she-her)" userId="66e9cce0-e37b-4645-a907-f7690bd68dfb" providerId="ADAL" clId="{871AC57A-6E3B-4D85-BA02-8D6F5065EA89}" dt="2024-06-05T17:57:36.566" v="146"/>
          <ac:grpSpMkLst>
            <pc:docMk/>
            <pc:sldMk cId="1903397118" sldId="5004"/>
            <ac:grpSpMk id="112" creationId="{89E4DEA2-F517-1167-DD55-DC87F80355BE}"/>
          </ac:grpSpMkLst>
        </pc:grpChg>
        <pc:grpChg chg="mod">
          <ac:chgData name="Jacob, Karen (SPAC/PSPC) (elle-la / she-her)" userId="66e9cce0-e37b-4645-a907-f7690bd68dfb" providerId="ADAL" clId="{871AC57A-6E3B-4D85-BA02-8D6F5065EA89}" dt="2024-06-05T17:57:36.566" v="146"/>
          <ac:grpSpMkLst>
            <pc:docMk/>
            <pc:sldMk cId="1903397118" sldId="5004"/>
            <ac:grpSpMk id="115" creationId="{383D478E-2B5D-E0B3-FEDC-C91C75EAFEAF}"/>
          </ac:grpSpMkLst>
        </pc:grpChg>
        <pc:grpChg chg="mod">
          <ac:chgData name="Jacob, Karen (SPAC/PSPC) (elle-la / she-her)" userId="66e9cce0-e37b-4645-a907-f7690bd68dfb" providerId="ADAL" clId="{871AC57A-6E3B-4D85-BA02-8D6F5065EA89}" dt="2024-06-05T17:57:36.566" v="146"/>
          <ac:grpSpMkLst>
            <pc:docMk/>
            <pc:sldMk cId="1903397118" sldId="5004"/>
            <ac:grpSpMk id="117" creationId="{237CA0D0-4998-8009-AFFD-CD8FCD60E6D9}"/>
          </ac:grpSpMkLst>
        </pc:grpChg>
        <pc:grpChg chg="mod">
          <ac:chgData name="Jacob, Karen (SPAC/PSPC) (elle-la / she-her)" userId="66e9cce0-e37b-4645-a907-f7690bd68dfb" providerId="ADAL" clId="{871AC57A-6E3B-4D85-BA02-8D6F5065EA89}" dt="2024-06-05T17:57:36.566" v="146"/>
          <ac:grpSpMkLst>
            <pc:docMk/>
            <pc:sldMk cId="1903397118" sldId="5004"/>
            <ac:grpSpMk id="120" creationId="{6BDB1558-95C3-4457-5F34-8F850FE05AEA}"/>
          </ac:grpSpMkLst>
        </pc:grpChg>
        <pc:grpChg chg="add mod">
          <ac:chgData name="Jacob, Karen (SPAC/PSPC) (elle-la / she-her)" userId="66e9cce0-e37b-4645-a907-f7690bd68dfb" providerId="ADAL" clId="{871AC57A-6E3B-4D85-BA02-8D6F5065EA89}" dt="2024-06-05T17:57:36.566" v="146"/>
          <ac:grpSpMkLst>
            <pc:docMk/>
            <pc:sldMk cId="1903397118" sldId="5004"/>
            <ac:grpSpMk id="165" creationId="{04BFAFDE-390B-7E70-D97E-DA9E5B2A24FD}"/>
          </ac:grpSpMkLst>
        </pc:grpChg>
        <pc:grpChg chg="mod">
          <ac:chgData name="Jacob, Karen (SPAC/PSPC) (elle-la / she-her)" userId="66e9cce0-e37b-4645-a907-f7690bd68dfb" providerId="ADAL" clId="{871AC57A-6E3B-4D85-BA02-8D6F5065EA89}" dt="2024-06-05T17:57:36.566" v="146"/>
          <ac:grpSpMkLst>
            <pc:docMk/>
            <pc:sldMk cId="1903397118" sldId="5004"/>
            <ac:grpSpMk id="167" creationId="{11C2B998-6440-5A37-8D1C-FE12149AB55C}"/>
          </ac:grpSpMkLst>
        </pc:grpChg>
        <pc:grpChg chg="mod">
          <ac:chgData name="Jacob, Karen (SPAC/PSPC) (elle-la / she-her)" userId="66e9cce0-e37b-4645-a907-f7690bd68dfb" providerId="ADAL" clId="{871AC57A-6E3B-4D85-BA02-8D6F5065EA89}" dt="2024-06-05T17:57:36.566" v="146"/>
          <ac:grpSpMkLst>
            <pc:docMk/>
            <pc:sldMk cId="1903397118" sldId="5004"/>
            <ac:grpSpMk id="179" creationId="{4FC7A3C4-F44A-005A-1C3E-46375D412EA7}"/>
          </ac:grpSpMkLst>
        </pc:grpChg>
        <pc:grpChg chg="mod">
          <ac:chgData name="Jacob, Karen (SPAC/PSPC) (elle-la / she-her)" userId="66e9cce0-e37b-4645-a907-f7690bd68dfb" providerId="ADAL" clId="{871AC57A-6E3B-4D85-BA02-8D6F5065EA89}" dt="2024-06-05T17:57:36.566" v="146"/>
          <ac:grpSpMkLst>
            <pc:docMk/>
            <pc:sldMk cId="1903397118" sldId="5004"/>
            <ac:grpSpMk id="180" creationId="{70E900CE-1EC1-522F-4003-B2A235188E80}"/>
          </ac:grpSpMkLst>
        </pc:grpChg>
        <pc:grpChg chg="mod">
          <ac:chgData name="Jacob, Karen (SPAC/PSPC) (elle-la / she-her)" userId="66e9cce0-e37b-4645-a907-f7690bd68dfb" providerId="ADAL" clId="{871AC57A-6E3B-4D85-BA02-8D6F5065EA89}" dt="2024-06-05T17:57:36.566" v="146"/>
          <ac:grpSpMkLst>
            <pc:docMk/>
            <pc:sldMk cId="1903397118" sldId="5004"/>
            <ac:grpSpMk id="181" creationId="{DD4B14B2-FBBC-58CD-9BEA-E7DAF61448B0}"/>
          </ac:grpSpMkLst>
        </pc:grpChg>
        <pc:grpChg chg="mod">
          <ac:chgData name="Jacob, Karen (SPAC/PSPC) (elle-la / she-her)" userId="66e9cce0-e37b-4645-a907-f7690bd68dfb" providerId="ADAL" clId="{871AC57A-6E3B-4D85-BA02-8D6F5065EA89}" dt="2024-06-05T17:57:36.566" v="146"/>
          <ac:grpSpMkLst>
            <pc:docMk/>
            <pc:sldMk cId="1903397118" sldId="5004"/>
            <ac:grpSpMk id="187" creationId="{B432C763-4712-6301-D37D-899181F147A9}"/>
          </ac:grpSpMkLst>
        </pc:grpChg>
        <pc:grpChg chg="mod">
          <ac:chgData name="Jacob, Karen (SPAC/PSPC) (elle-la / she-her)" userId="66e9cce0-e37b-4645-a907-f7690bd68dfb" providerId="ADAL" clId="{871AC57A-6E3B-4D85-BA02-8D6F5065EA89}" dt="2024-06-05T17:57:36.566" v="146"/>
          <ac:grpSpMkLst>
            <pc:docMk/>
            <pc:sldMk cId="1903397118" sldId="5004"/>
            <ac:grpSpMk id="230" creationId="{F0F47009-54B2-967A-3448-CCB09A2C7441}"/>
          </ac:grpSpMkLst>
        </pc:grpChg>
        <pc:grpChg chg="mod">
          <ac:chgData name="Jacob, Karen (SPAC/PSPC) (elle-la / she-her)" userId="66e9cce0-e37b-4645-a907-f7690bd68dfb" providerId="ADAL" clId="{871AC57A-6E3B-4D85-BA02-8D6F5065EA89}" dt="2024-06-05T17:57:36.566" v="146"/>
          <ac:grpSpMkLst>
            <pc:docMk/>
            <pc:sldMk cId="1903397118" sldId="5004"/>
            <ac:grpSpMk id="274" creationId="{E18CC530-5A33-1961-B32D-669D857EC675}"/>
          </ac:grpSpMkLst>
        </pc:grpChg>
        <pc:grpChg chg="add mod">
          <ac:chgData name="Jacob, Karen (SPAC/PSPC) (elle-la / she-her)" userId="66e9cce0-e37b-4645-a907-f7690bd68dfb" providerId="ADAL" clId="{871AC57A-6E3B-4D85-BA02-8D6F5065EA89}" dt="2024-06-05T17:57:36.566" v="146"/>
          <ac:grpSpMkLst>
            <pc:docMk/>
            <pc:sldMk cId="1903397118" sldId="5004"/>
            <ac:grpSpMk id="319" creationId="{FC3607F8-E441-3661-16E0-38630D0E81E6}"/>
          </ac:grpSpMkLst>
        </pc:grpChg>
        <pc:grpChg chg="mod">
          <ac:chgData name="Jacob, Karen (SPAC/PSPC) (elle-la / she-her)" userId="66e9cce0-e37b-4645-a907-f7690bd68dfb" providerId="ADAL" clId="{871AC57A-6E3B-4D85-BA02-8D6F5065EA89}" dt="2024-06-05T17:57:36.566" v="146"/>
          <ac:grpSpMkLst>
            <pc:docMk/>
            <pc:sldMk cId="1903397118" sldId="5004"/>
            <ac:grpSpMk id="321" creationId="{7A532255-817D-6D74-3576-14BCDDDD1BF3}"/>
          </ac:grpSpMkLst>
        </pc:grpChg>
        <pc:grpChg chg="mod">
          <ac:chgData name="Jacob, Karen (SPAC/PSPC) (elle-la / she-her)" userId="66e9cce0-e37b-4645-a907-f7690bd68dfb" providerId="ADAL" clId="{871AC57A-6E3B-4D85-BA02-8D6F5065EA89}" dt="2024-06-05T17:57:36.566" v="146"/>
          <ac:grpSpMkLst>
            <pc:docMk/>
            <pc:sldMk cId="1903397118" sldId="5004"/>
            <ac:grpSpMk id="322" creationId="{F07A4498-120E-E487-110B-4D1978C51493}"/>
          </ac:grpSpMkLst>
        </pc:grpChg>
        <pc:grpChg chg="mod">
          <ac:chgData name="Jacob, Karen (SPAC/PSPC) (elle-la / she-her)" userId="66e9cce0-e37b-4645-a907-f7690bd68dfb" providerId="ADAL" clId="{871AC57A-6E3B-4D85-BA02-8D6F5065EA89}" dt="2024-06-05T17:57:36.566" v="146"/>
          <ac:grpSpMkLst>
            <pc:docMk/>
            <pc:sldMk cId="1903397118" sldId="5004"/>
            <ac:grpSpMk id="323" creationId="{A2B5BB8F-40A0-67AE-1B72-BEAF1AB39F63}"/>
          </ac:grpSpMkLst>
        </pc:grpChg>
        <pc:grpChg chg="mod">
          <ac:chgData name="Jacob, Karen (SPAC/PSPC) (elle-la / she-her)" userId="66e9cce0-e37b-4645-a907-f7690bd68dfb" providerId="ADAL" clId="{871AC57A-6E3B-4D85-BA02-8D6F5065EA89}" dt="2024-06-05T17:57:36.566" v="146"/>
          <ac:grpSpMkLst>
            <pc:docMk/>
            <pc:sldMk cId="1903397118" sldId="5004"/>
            <ac:grpSpMk id="337" creationId="{D494F48A-A8AB-E8DB-936B-7697C8E51D8C}"/>
          </ac:grpSpMkLst>
        </pc:grpChg>
        <pc:grpChg chg="mod">
          <ac:chgData name="Jacob, Karen (SPAC/PSPC) (elle-la / she-her)" userId="66e9cce0-e37b-4645-a907-f7690bd68dfb" providerId="ADAL" clId="{871AC57A-6E3B-4D85-BA02-8D6F5065EA89}" dt="2024-06-05T17:57:36.566" v="146"/>
          <ac:grpSpMkLst>
            <pc:docMk/>
            <pc:sldMk cId="1903397118" sldId="5004"/>
            <ac:grpSpMk id="348" creationId="{72FF984A-D969-2763-B4C3-6D2D95F74EF5}"/>
          </ac:grpSpMkLst>
        </pc:grpChg>
        <pc:grpChg chg="mod">
          <ac:chgData name="Jacob, Karen (SPAC/PSPC) (elle-la / she-her)" userId="66e9cce0-e37b-4645-a907-f7690bd68dfb" providerId="ADAL" clId="{871AC57A-6E3B-4D85-BA02-8D6F5065EA89}" dt="2024-06-05T17:57:36.566" v="146"/>
          <ac:grpSpMkLst>
            <pc:docMk/>
            <pc:sldMk cId="1903397118" sldId="5004"/>
            <ac:grpSpMk id="352" creationId="{92ACCCB7-25AF-AE44-7D97-3C5F056E7C1C}"/>
          </ac:grpSpMkLst>
        </pc:grpChg>
        <pc:grpChg chg="mod">
          <ac:chgData name="Jacob, Karen (SPAC/PSPC) (elle-la / she-her)" userId="66e9cce0-e37b-4645-a907-f7690bd68dfb" providerId="ADAL" clId="{871AC57A-6E3B-4D85-BA02-8D6F5065EA89}" dt="2024-06-05T17:57:36.566" v="146"/>
          <ac:grpSpMkLst>
            <pc:docMk/>
            <pc:sldMk cId="1903397118" sldId="5004"/>
            <ac:grpSpMk id="395" creationId="{099F3FE8-2AF6-5637-9630-35D8CD21B8AF}"/>
          </ac:grpSpMkLst>
        </pc:grpChg>
        <pc:grpChg chg="add mod">
          <ac:chgData name="Jacob, Karen (SPAC/PSPC) (elle-la / she-her)" userId="66e9cce0-e37b-4645-a907-f7690bd68dfb" providerId="ADAL" clId="{871AC57A-6E3B-4D85-BA02-8D6F5065EA89}" dt="2024-06-05T17:57:36.566" v="146"/>
          <ac:grpSpMkLst>
            <pc:docMk/>
            <pc:sldMk cId="1903397118" sldId="5004"/>
            <ac:grpSpMk id="439" creationId="{8FFAF5C0-F9EF-1403-6199-388C13B6ECAD}"/>
          </ac:grpSpMkLst>
        </pc:grpChg>
        <pc:grpChg chg="mod">
          <ac:chgData name="Jacob, Karen (SPAC/PSPC) (elle-la / she-her)" userId="66e9cce0-e37b-4645-a907-f7690bd68dfb" providerId="ADAL" clId="{871AC57A-6E3B-4D85-BA02-8D6F5065EA89}" dt="2024-06-05T17:57:36.566" v="146"/>
          <ac:grpSpMkLst>
            <pc:docMk/>
            <pc:sldMk cId="1903397118" sldId="5004"/>
            <ac:grpSpMk id="440" creationId="{18660168-DCBF-3C12-7720-62B8AC2B9068}"/>
          </ac:grpSpMkLst>
        </pc:grpChg>
        <pc:picChg chg="mod">
          <ac:chgData name="Jacob, Karen (SPAC/PSPC) (elle-la / she-her)" userId="66e9cce0-e37b-4645-a907-f7690bd68dfb" providerId="ADAL" clId="{871AC57A-6E3B-4D85-BA02-8D6F5065EA89}" dt="2024-06-05T17:57:36.566" v="146"/>
          <ac:picMkLst>
            <pc:docMk/>
            <pc:sldMk cId="1903397118" sldId="5004"/>
            <ac:picMk id="9" creationId="{3736A36E-558A-D335-E7CD-AE1870106011}"/>
          </ac:picMkLst>
        </pc:picChg>
        <pc:picChg chg="mod">
          <ac:chgData name="Jacob, Karen (SPAC/PSPC) (elle-la / she-her)" userId="66e9cce0-e37b-4645-a907-f7690bd68dfb" providerId="ADAL" clId="{871AC57A-6E3B-4D85-BA02-8D6F5065EA89}" dt="2024-06-05T17:57:36.566" v="146"/>
          <ac:picMkLst>
            <pc:docMk/>
            <pc:sldMk cId="1903397118" sldId="5004"/>
            <ac:picMk id="18" creationId="{F9BD9803-B94E-CE14-6EC5-706E35CA735F}"/>
          </ac:picMkLst>
        </pc:picChg>
        <pc:picChg chg="mod">
          <ac:chgData name="Jacob, Karen (SPAC/PSPC) (elle-la / she-her)" userId="66e9cce0-e37b-4645-a907-f7690bd68dfb" providerId="ADAL" clId="{871AC57A-6E3B-4D85-BA02-8D6F5065EA89}" dt="2024-06-05T17:57:36.566" v="146"/>
          <ac:picMkLst>
            <pc:docMk/>
            <pc:sldMk cId="1903397118" sldId="5004"/>
            <ac:picMk id="19" creationId="{AC4D6478-3C86-778C-5FA6-E69AE66CE5CC}"/>
          </ac:picMkLst>
        </pc:picChg>
        <pc:picChg chg="mod">
          <ac:chgData name="Jacob, Karen (SPAC/PSPC) (elle-la / she-her)" userId="66e9cce0-e37b-4645-a907-f7690bd68dfb" providerId="ADAL" clId="{871AC57A-6E3B-4D85-BA02-8D6F5065EA89}" dt="2024-06-05T17:57:36.566" v="146"/>
          <ac:picMkLst>
            <pc:docMk/>
            <pc:sldMk cId="1903397118" sldId="5004"/>
            <ac:picMk id="27" creationId="{09E8D147-CFA8-9093-E5A6-90E53D03B13A}"/>
          </ac:picMkLst>
        </pc:picChg>
        <pc:picChg chg="mod">
          <ac:chgData name="Jacob, Karen (SPAC/PSPC) (elle-la / she-her)" userId="66e9cce0-e37b-4645-a907-f7690bd68dfb" providerId="ADAL" clId="{871AC57A-6E3B-4D85-BA02-8D6F5065EA89}" dt="2024-06-05T17:57:36.566" v="146"/>
          <ac:picMkLst>
            <pc:docMk/>
            <pc:sldMk cId="1903397118" sldId="5004"/>
            <ac:picMk id="70" creationId="{3309BBCB-A39A-4075-C868-E7AE6926A7CB}"/>
          </ac:picMkLst>
        </pc:picChg>
        <pc:picChg chg="mod">
          <ac:chgData name="Jacob, Karen (SPAC/PSPC) (elle-la / she-her)" userId="66e9cce0-e37b-4645-a907-f7690bd68dfb" providerId="ADAL" clId="{871AC57A-6E3B-4D85-BA02-8D6F5065EA89}" dt="2024-06-05T17:57:36.566" v="146"/>
          <ac:picMkLst>
            <pc:docMk/>
            <pc:sldMk cId="1903397118" sldId="5004"/>
            <ac:picMk id="114" creationId="{0537EB5B-BC38-9D09-D933-7391546CFDFD}"/>
          </ac:picMkLst>
        </pc:picChg>
        <pc:picChg chg="mod">
          <ac:chgData name="Jacob, Karen (SPAC/PSPC) (elle-la / she-her)" userId="66e9cce0-e37b-4645-a907-f7690bd68dfb" providerId="ADAL" clId="{871AC57A-6E3B-4D85-BA02-8D6F5065EA89}" dt="2024-06-05T17:57:36.566" v="146"/>
          <ac:picMkLst>
            <pc:docMk/>
            <pc:sldMk cId="1903397118" sldId="5004"/>
            <ac:picMk id="168" creationId="{2D9D23A9-06BF-DDD4-36A1-3B4082026B0B}"/>
          </ac:picMkLst>
        </pc:picChg>
        <pc:picChg chg="mod">
          <ac:chgData name="Jacob, Karen (SPAC/PSPC) (elle-la / she-her)" userId="66e9cce0-e37b-4645-a907-f7690bd68dfb" providerId="ADAL" clId="{871AC57A-6E3B-4D85-BA02-8D6F5065EA89}" dt="2024-06-05T17:57:36.566" v="146"/>
          <ac:picMkLst>
            <pc:docMk/>
            <pc:sldMk cId="1903397118" sldId="5004"/>
            <ac:picMk id="169" creationId="{1E220B03-1EA0-9D95-40C4-602E8361E5B0}"/>
          </ac:picMkLst>
        </pc:picChg>
        <pc:picChg chg="mod">
          <ac:chgData name="Jacob, Karen (SPAC/PSPC) (elle-la / she-her)" userId="66e9cce0-e37b-4645-a907-f7690bd68dfb" providerId="ADAL" clId="{871AC57A-6E3B-4D85-BA02-8D6F5065EA89}" dt="2024-06-05T17:57:36.566" v="146"/>
          <ac:picMkLst>
            <pc:docMk/>
            <pc:sldMk cId="1903397118" sldId="5004"/>
            <ac:picMk id="170" creationId="{78205BB3-CDC0-D687-4A1A-5F1DB09A41EB}"/>
          </ac:picMkLst>
        </pc:picChg>
        <pc:picChg chg="mod">
          <ac:chgData name="Jacob, Karen (SPAC/PSPC) (elle-la / she-her)" userId="66e9cce0-e37b-4645-a907-f7690bd68dfb" providerId="ADAL" clId="{871AC57A-6E3B-4D85-BA02-8D6F5065EA89}" dt="2024-06-05T17:57:36.566" v="146"/>
          <ac:picMkLst>
            <pc:docMk/>
            <pc:sldMk cId="1903397118" sldId="5004"/>
            <ac:picMk id="171" creationId="{BD7DB332-DF09-EFAA-FDAD-947636303D6C}"/>
          </ac:picMkLst>
        </pc:picChg>
        <pc:picChg chg="mod">
          <ac:chgData name="Jacob, Karen (SPAC/PSPC) (elle-la / she-her)" userId="66e9cce0-e37b-4645-a907-f7690bd68dfb" providerId="ADAL" clId="{871AC57A-6E3B-4D85-BA02-8D6F5065EA89}" dt="2024-06-05T17:57:36.566" v="146"/>
          <ac:picMkLst>
            <pc:docMk/>
            <pc:sldMk cId="1903397118" sldId="5004"/>
            <ac:picMk id="172" creationId="{AB370EF2-83EB-25EF-0F86-00B381C5CD8E}"/>
          </ac:picMkLst>
        </pc:picChg>
        <pc:picChg chg="mod">
          <ac:chgData name="Jacob, Karen (SPAC/PSPC) (elle-la / she-her)" userId="66e9cce0-e37b-4645-a907-f7690bd68dfb" providerId="ADAL" clId="{871AC57A-6E3B-4D85-BA02-8D6F5065EA89}" dt="2024-06-05T17:57:36.566" v="146"/>
          <ac:picMkLst>
            <pc:docMk/>
            <pc:sldMk cId="1903397118" sldId="5004"/>
            <ac:picMk id="173" creationId="{7E320A76-4260-BE23-C913-A45F27D399BC}"/>
          </ac:picMkLst>
        </pc:picChg>
        <pc:picChg chg="mod">
          <ac:chgData name="Jacob, Karen (SPAC/PSPC) (elle-la / she-her)" userId="66e9cce0-e37b-4645-a907-f7690bd68dfb" providerId="ADAL" clId="{871AC57A-6E3B-4D85-BA02-8D6F5065EA89}" dt="2024-06-05T17:57:36.566" v="146"/>
          <ac:picMkLst>
            <pc:docMk/>
            <pc:sldMk cId="1903397118" sldId="5004"/>
            <ac:picMk id="174" creationId="{3A1BF91D-E0B1-7B2D-ED10-D16A08F50985}"/>
          </ac:picMkLst>
        </pc:picChg>
        <pc:picChg chg="mod">
          <ac:chgData name="Jacob, Karen (SPAC/PSPC) (elle-la / she-her)" userId="66e9cce0-e37b-4645-a907-f7690bd68dfb" providerId="ADAL" clId="{871AC57A-6E3B-4D85-BA02-8D6F5065EA89}" dt="2024-06-05T17:57:36.566" v="146"/>
          <ac:picMkLst>
            <pc:docMk/>
            <pc:sldMk cId="1903397118" sldId="5004"/>
            <ac:picMk id="175" creationId="{FD4AD78C-88E8-1E6B-1ECA-417E8CE07B3F}"/>
          </ac:picMkLst>
        </pc:picChg>
        <pc:picChg chg="mod">
          <ac:chgData name="Jacob, Karen (SPAC/PSPC) (elle-la / she-her)" userId="66e9cce0-e37b-4645-a907-f7690bd68dfb" providerId="ADAL" clId="{871AC57A-6E3B-4D85-BA02-8D6F5065EA89}" dt="2024-06-05T17:57:36.566" v="146"/>
          <ac:picMkLst>
            <pc:docMk/>
            <pc:sldMk cId="1903397118" sldId="5004"/>
            <ac:picMk id="176" creationId="{A98FF8C1-AED4-75ED-F439-4DFFF61B0153}"/>
          </ac:picMkLst>
        </pc:picChg>
        <pc:picChg chg="mod">
          <ac:chgData name="Jacob, Karen (SPAC/PSPC) (elle-la / she-her)" userId="66e9cce0-e37b-4645-a907-f7690bd68dfb" providerId="ADAL" clId="{871AC57A-6E3B-4D85-BA02-8D6F5065EA89}" dt="2024-06-05T17:57:36.566" v="146"/>
          <ac:picMkLst>
            <pc:docMk/>
            <pc:sldMk cId="1903397118" sldId="5004"/>
            <ac:picMk id="177" creationId="{2484B792-AE46-8D94-2254-2FBB6C0FB51C}"/>
          </ac:picMkLst>
        </pc:picChg>
        <pc:picChg chg="mod">
          <ac:chgData name="Jacob, Karen (SPAC/PSPC) (elle-la / she-her)" userId="66e9cce0-e37b-4645-a907-f7690bd68dfb" providerId="ADAL" clId="{871AC57A-6E3B-4D85-BA02-8D6F5065EA89}" dt="2024-06-05T17:57:36.566" v="146"/>
          <ac:picMkLst>
            <pc:docMk/>
            <pc:sldMk cId="1903397118" sldId="5004"/>
            <ac:picMk id="178" creationId="{A65C9685-60F8-A1E6-ACB4-D66200BFA1C0}"/>
          </ac:picMkLst>
        </pc:picChg>
        <pc:picChg chg="mod">
          <ac:chgData name="Jacob, Karen (SPAC/PSPC) (elle-la / she-her)" userId="66e9cce0-e37b-4645-a907-f7690bd68dfb" providerId="ADAL" clId="{871AC57A-6E3B-4D85-BA02-8D6F5065EA89}" dt="2024-06-05T17:57:36.566" v="146"/>
          <ac:picMkLst>
            <pc:docMk/>
            <pc:sldMk cId="1903397118" sldId="5004"/>
            <ac:picMk id="189" creationId="{2FA64664-8977-A7C6-F192-4A0643BEF6AA}"/>
          </ac:picMkLst>
        </pc:picChg>
        <pc:picChg chg="mod">
          <ac:chgData name="Jacob, Karen (SPAC/PSPC) (elle-la / she-her)" userId="66e9cce0-e37b-4645-a907-f7690bd68dfb" providerId="ADAL" clId="{871AC57A-6E3B-4D85-BA02-8D6F5065EA89}" dt="2024-06-05T17:57:36.566" v="146"/>
          <ac:picMkLst>
            <pc:docMk/>
            <pc:sldMk cId="1903397118" sldId="5004"/>
            <ac:picMk id="232" creationId="{B1D216C6-E26D-BD6B-7B29-DDC5EBB115F3}"/>
          </ac:picMkLst>
        </pc:picChg>
        <pc:picChg chg="mod">
          <ac:chgData name="Jacob, Karen (SPAC/PSPC) (elle-la / she-her)" userId="66e9cce0-e37b-4645-a907-f7690bd68dfb" providerId="ADAL" clId="{871AC57A-6E3B-4D85-BA02-8D6F5065EA89}" dt="2024-06-05T17:57:36.566" v="146"/>
          <ac:picMkLst>
            <pc:docMk/>
            <pc:sldMk cId="1903397118" sldId="5004"/>
            <ac:picMk id="276" creationId="{A379CFFD-97B2-434B-9056-26022C268F4B}"/>
          </ac:picMkLst>
        </pc:picChg>
        <pc:picChg chg="mod">
          <ac:chgData name="Jacob, Karen (SPAC/PSPC) (elle-la / she-her)" userId="66e9cce0-e37b-4645-a907-f7690bd68dfb" providerId="ADAL" clId="{871AC57A-6E3B-4D85-BA02-8D6F5065EA89}" dt="2024-06-05T17:57:36.566" v="146"/>
          <ac:picMkLst>
            <pc:docMk/>
            <pc:sldMk cId="1903397118" sldId="5004"/>
            <ac:picMk id="324" creationId="{3974903D-1697-C47F-C0DF-21023767F358}"/>
          </ac:picMkLst>
        </pc:picChg>
        <pc:picChg chg="mod">
          <ac:chgData name="Jacob, Karen (SPAC/PSPC) (elle-la / she-her)" userId="66e9cce0-e37b-4645-a907-f7690bd68dfb" providerId="ADAL" clId="{871AC57A-6E3B-4D85-BA02-8D6F5065EA89}" dt="2024-06-05T17:57:36.566" v="146"/>
          <ac:picMkLst>
            <pc:docMk/>
            <pc:sldMk cId="1903397118" sldId="5004"/>
            <ac:picMk id="325" creationId="{3A327087-DE84-91B7-DB2C-F74D2A3C34FE}"/>
          </ac:picMkLst>
        </pc:picChg>
        <pc:picChg chg="mod">
          <ac:chgData name="Jacob, Karen (SPAC/PSPC) (elle-la / she-her)" userId="66e9cce0-e37b-4645-a907-f7690bd68dfb" providerId="ADAL" clId="{871AC57A-6E3B-4D85-BA02-8D6F5065EA89}" dt="2024-06-05T17:57:36.566" v="146"/>
          <ac:picMkLst>
            <pc:docMk/>
            <pc:sldMk cId="1903397118" sldId="5004"/>
            <ac:picMk id="326" creationId="{FD93B344-F4B5-3264-33CC-BBE816DFC34A}"/>
          </ac:picMkLst>
        </pc:picChg>
        <pc:picChg chg="mod">
          <ac:chgData name="Jacob, Karen (SPAC/PSPC) (elle-la / she-her)" userId="66e9cce0-e37b-4645-a907-f7690bd68dfb" providerId="ADAL" clId="{871AC57A-6E3B-4D85-BA02-8D6F5065EA89}" dt="2024-06-05T17:57:36.566" v="146"/>
          <ac:picMkLst>
            <pc:docMk/>
            <pc:sldMk cId="1903397118" sldId="5004"/>
            <ac:picMk id="327" creationId="{08054E4A-1364-08E5-2F87-FF90FB6975C1}"/>
          </ac:picMkLst>
        </pc:picChg>
        <pc:picChg chg="mod">
          <ac:chgData name="Jacob, Karen (SPAC/PSPC) (elle-la / she-her)" userId="66e9cce0-e37b-4645-a907-f7690bd68dfb" providerId="ADAL" clId="{871AC57A-6E3B-4D85-BA02-8D6F5065EA89}" dt="2024-06-05T17:57:36.566" v="146"/>
          <ac:picMkLst>
            <pc:docMk/>
            <pc:sldMk cId="1903397118" sldId="5004"/>
            <ac:picMk id="328" creationId="{063C9700-12D4-4428-A419-3748C8477B9C}"/>
          </ac:picMkLst>
        </pc:picChg>
        <pc:picChg chg="mod">
          <ac:chgData name="Jacob, Karen (SPAC/PSPC) (elle-la / she-her)" userId="66e9cce0-e37b-4645-a907-f7690bd68dfb" providerId="ADAL" clId="{871AC57A-6E3B-4D85-BA02-8D6F5065EA89}" dt="2024-06-05T17:57:36.566" v="146"/>
          <ac:picMkLst>
            <pc:docMk/>
            <pc:sldMk cId="1903397118" sldId="5004"/>
            <ac:picMk id="329" creationId="{0AABB5FD-DC94-A954-E2BA-547A232DBB76}"/>
          </ac:picMkLst>
        </pc:picChg>
        <pc:picChg chg="mod">
          <ac:chgData name="Jacob, Karen (SPAC/PSPC) (elle-la / she-her)" userId="66e9cce0-e37b-4645-a907-f7690bd68dfb" providerId="ADAL" clId="{871AC57A-6E3B-4D85-BA02-8D6F5065EA89}" dt="2024-06-05T17:57:36.566" v="146"/>
          <ac:picMkLst>
            <pc:docMk/>
            <pc:sldMk cId="1903397118" sldId="5004"/>
            <ac:picMk id="330" creationId="{F221458B-9B2F-E11F-3EB0-B98C14E003F6}"/>
          </ac:picMkLst>
        </pc:picChg>
        <pc:picChg chg="mod">
          <ac:chgData name="Jacob, Karen (SPAC/PSPC) (elle-la / she-her)" userId="66e9cce0-e37b-4645-a907-f7690bd68dfb" providerId="ADAL" clId="{871AC57A-6E3B-4D85-BA02-8D6F5065EA89}" dt="2024-06-05T17:57:36.566" v="146"/>
          <ac:picMkLst>
            <pc:docMk/>
            <pc:sldMk cId="1903397118" sldId="5004"/>
            <ac:picMk id="331" creationId="{5C87E175-7404-C90F-6791-749F10552DB8}"/>
          </ac:picMkLst>
        </pc:picChg>
        <pc:picChg chg="mod">
          <ac:chgData name="Jacob, Karen (SPAC/PSPC) (elle-la / she-her)" userId="66e9cce0-e37b-4645-a907-f7690bd68dfb" providerId="ADAL" clId="{871AC57A-6E3B-4D85-BA02-8D6F5065EA89}" dt="2024-06-05T17:57:36.566" v="146"/>
          <ac:picMkLst>
            <pc:docMk/>
            <pc:sldMk cId="1903397118" sldId="5004"/>
            <ac:picMk id="332" creationId="{11A80F49-759B-7E51-9B40-170C0141AF80}"/>
          </ac:picMkLst>
        </pc:picChg>
        <pc:picChg chg="mod">
          <ac:chgData name="Jacob, Karen (SPAC/PSPC) (elle-la / she-her)" userId="66e9cce0-e37b-4645-a907-f7690bd68dfb" providerId="ADAL" clId="{871AC57A-6E3B-4D85-BA02-8D6F5065EA89}" dt="2024-06-05T17:57:36.566" v="146"/>
          <ac:picMkLst>
            <pc:docMk/>
            <pc:sldMk cId="1903397118" sldId="5004"/>
            <ac:picMk id="333" creationId="{E26A9118-2712-C0B4-824A-A3F5DF5BC3CB}"/>
          </ac:picMkLst>
        </pc:picChg>
        <pc:picChg chg="mod">
          <ac:chgData name="Jacob, Karen (SPAC/PSPC) (elle-la / she-her)" userId="66e9cce0-e37b-4645-a907-f7690bd68dfb" providerId="ADAL" clId="{871AC57A-6E3B-4D85-BA02-8D6F5065EA89}" dt="2024-06-05T17:57:36.566" v="146"/>
          <ac:picMkLst>
            <pc:docMk/>
            <pc:sldMk cId="1903397118" sldId="5004"/>
            <ac:picMk id="334" creationId="{DE9D746F-4794-33F8-DDFE-084066D5DC69}"/>
          </ac:picMkLst>
        </pc:picChg>
        <pc:picChg chg="mod">
          <ac:chgData name="Jacob, Karen (SPAC/PSPC) (elle-la / she-her)" userId="66e9cce0-e37b-4645-a907-f7690bd68dfb" providerId="ADAL" clId="{871AC57A-6E3B-4D85-BA02-8D6F5065EA89}" dt="2024-06-05T17:57:36.566" v="146"/>
          <ac:picMkLst>
            <pc:docMk/>
            <pc:sldMk cId="1903397118" sldId="5004"/>
            <ac:picMk id="335" creationId="{E0D10647-530C-64FC-7549-17C24E93897A}"/>
          </ac:picMkLst>
        </pc:picChg>
        <pc:picChg chg="mod">
          <ac:chgData name="Jacob, Karen (SPAC/PSPC) (elle-la / she-her)" userId="66e9cce0-e37b-4645-a907-f7690bd68dfb" providerId="ADAL" clId="{871AC57A-6E3B-4D85-BA02-8D6F5065EA89}" dt="2024-06-05T17:57:36.566" v="146"/>
          <ac:picMkLst>
            <pc:docMk/>
            <pc:sldMk cId="1903397118" sldId="5004"/>
            <ac:picMk id="336" creationId="{BCC8C6C0-91FE-2323-90D5-C32624742BEE}"/>
          </ac:picMkLst>
        </pc:picChg>
        <pc:picChg chg="mod">
          <ac:chgData name="Jacob, Karen (SPAC/PSPC) (elle-la / she-her)" userId="66e9cce0-e37b-4645-a907-f7690bd68dfb" providerId="ADAL" clId="{871AC57A-6E3B-4D85-BA02-8D6F5065EA89}" dt="2024-06-05T17:57:36.566" v="146"/>
          <ac:picMkLst>
            <pc:docMk/>
            <pc:sldMk cId="1903397118" sldId="5004"/>
            <ac:picMk id="354" creationId="{7B6A8D96-88D6-AFCD-A271-4684DA91A331}"/>
          </ac:picMkLst>
        </pc:picChg>
        <pc:picChg chg="mod">
          <ac:chgData name="Jacob, Karen (SPAC/PSPC) (elle-la / she-her)" userId="66e9cce0-e37b-4645-a907-f7690bd68dfb" providerId="ADAL" clId="{871AC57A-6E3B-4D85-BA02-8D6F5065EA89}" dt="2024-06-05T17:57:36.566" v="146"/>
          <ac:picMkLst>
            <pc:docMk/>
            <pc:sldMk cId="1903397118" sldId="5004"/>
            <ac:picMk id="397" creationId="{BF50ACC4-82CF-D356-0415-7E53CA459D24}"/>
          </ac:picMkLst>
        </pc:picChg>
        <pc:inkChg chg="mod">
          <ac:chgData name="Jacob, Karen (SPAC/PSPC) (elle-la / she-her)" userId="66e9cce0-e37b-4645-a907-f7690bd68dfb" providerId="ADAL" clId="{871AC57A-6E3B-4D85-BA02-8D6F5065EA89}" dt="2024-06-05T17:57:36.566" v="146"/>
          <ac:inkMkLst>
            <pc:docMk/>
            <pc:sldMk cId="1903397118" sldId="5004"/>
            <ac:inkMk id="5" creationId="{F3627D6B-7A4F-9AAF-1357-1818E29ED33B}"/>
          </ac:inkMkLst>
        </pc:inkChg>
        <pc:inkChg chg="mod">
          <ac:chgData name="Jacob, Karen (SPAC/PSPC) (elle-la / she-her)" userId="66e9cce0-e37b-4645-a907-f7690bd68dfb" providerId="ADAL" clId="{871AC57A-6E3B-4D85-BA02-8D6F5065EA89}" dt="2024-06-05T17:57:36.566" v="146"/>
          <ac:inkMkLst>
            <pc:docMk/>
            <pc:sldMk cId="1903397118" sldId="5004"/>
            <ac:inkMk id="6" creationId="{C5456B84-7D10-682A-02CC-AC448C0E0B46}"/>
          </ac:inkMkLst>
        </pc:inkChg>
        <pc:cxnChg chg="mod">
          <ac:chgData name="Jacob, Karen (SPAC/PSPC) (elle-la / she-her)" userId="66e9cce0-e37b-4645-a907-f7690bd68dfb" providerId="ADAL" clId="{871AC57A-6E3B-4D85-BA02-8D6F5065EA89}" dt="2024-06-05T17:57:36.566" v="146"/>
          <ac:cxnSpMkLst>
            <pc:docMk/>
            <pc:sldMk cId="1903397118" sldId="5004"/>
            <ac:cxnSpMk id="10" creationId="{8A5964A9-7543-BF82-2B7D-9E34B2B13F99}"/>
          </ac:cxnSpMkLst>
        </pc:cxn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58:50.926" v="150"/>
              <pc2:cmMkLst xmlns:pc2="http://schemas.microsoft.com/office/powerpoint/2019/9/main/command">
                <pc:docMk/>
                <pc:sldMk cId="1903397118" sldId="5004"/>
                <pc2:cmMk id="{9E4A2A8D-FC18-4A2F-9D7F-B5F2643E0207}"/>
              </pc2:cmMkLst>
            </pc226:cmChg>
          </p:ext>
        </pc:extLst>
      </pc:sldChg>
      <pc:sldChg chg="modSp del mod">
        <pc:chgData name="Jacob, Karen (SPAC/PSPC) (elle-la / she-her)" userId="66e9cce0-e37b-4645-a907-f7690bd68dfb" providerId="ADAL" clId="{871AC57A-6E3B-4D85-BA02-8D6F5065EA89}" dt="2024-06-21T12:39:11.829" v="157" actId="47"/>
        <pc:sldMkLst>
          <pc:docMk/>
          <pc:sldMk cId="3820944322" sldId="5005"/>
        </pc:sldMkLst>
        <pc:grpChg chg="mod">
          <ac:chgData name="Jacob, Karen (SPAC/PSPC) (elle-la / she-her)" userId="66e9cce0-e37b-4645-a907-f7690bd68dfb" providerId="ADAL" clId="{871AC57A-6E3B-4D85-BA02-8D6F5065EA89}" dt="2024-06-21T12:39:02.681" v="156" actId="1076"/>
          <ac:grpSpMkLst>
            <pc:docMk/>
            <pc:sldMk cId="3820944322" sldId="5005"/>
            <ac:grpSpMk id="3" creationId="{EAFCA7DA-B3A3-40D1-F2DD-88BF94C0FDEE}"/>
          </ac:grpSpMkLst>
        </pc:grpChg>
      </pc:sldChg>
      <pc:sldChg chg="addSp delSp mod modShow">
        <pc:chgData name="Jacob, Karen (SPAC/PSPC) (elle-la / she-her)" userId="66e9cce0-e37b-4645-a907-f7690bd68dfb" providerId="ADAL" clId="{871AC57A-6E3B-4D85-BA02-8D6F5065EA89}" dt="2024-06-21T14:25:32.772" v="2813" actId="729"/>
        <pc:sldMkLst>
          <pc:docMk/>
          <pc:sldMk cId="257696756" sldId="5009"/>
        </pc:sldMkLst>
        <pc:spChg chg="add del">
          <ac:chgData name="Jacob, Karen (SPAC/PSPC) (elle-la / she-her)" userId="66e9cce0-e37b-4645-a907-f7690bd68dfb" providerId="ADAL" clId="{871AC57A-6E3B-4D85-BA02-8D6F5065EA89}" dt="2024-06-21T13:41:55.445" v="1411" actId="478"/>
          <ac:spMkLst>
            <pc:docMk/>
            <pc:sldMk cId="257696756" sldId="5009"/>
            <ac:spMk id="2" creationId="{D960D336-DD27-5679-AECF-6C13D8155F68}"/>
          </ac:spMkLst>
        </pc:spChg>
        <pc:cxnChg chg="add del">
          <ac:chgData name="Jacob, Karen (SPAC/PSPC) (elle-la / she-her)" userId="66e9cce0-e37b-4645-a907-f7690bd68dfb" providerId="ADAL" clId="{871AC57A-6E3B-4D85-BA02-8D6F5065EA89}" dt="2024-06-21T13:41:54.652" v="1409" actId="478"/>
          <ac:cxnSpMkLst>
            <pc:docMk/>
            <pc:sldMk cId="257696756" sldId="5009"/>
            <ac:cxnSpMk id="12" creationId="{BDE86105-CA93-DFEC-23D1-4FA46A0C45FB}"/>
          </ac:cxnSpMkLst>
        </pc:cxnChg>
        <pc:cxnChg chg="add del">
          <ac:chgData name="Jacob, Karen (SPAC/PSPC) (elle-la / she-her)" userId="66e9cce0-e37b-4645-a907-f7690bd68dfb" providerId="ADAL" clId="{871AC57A-6E3B-4D85-BA02-8D6F5065EA89}" dt="2024-06-21T13:41:55.043" v="1410" actId="478"/>
          <ac:cxnSpMkLst>
            <pc:docMk/>
            <pc:sldMk cId="257696756" sldId="5009"/>
            <ac:cxnSpMk id="16" creationId="{42F01C50-1EA6-FC78-46ED-8742A7F0E7A2}"/>
          </ac:cxnSpMkLst>
        </pc:cxnChg>
      </pc:sldChg>
      <pc:sldChg chg="mod modShow">
        <pc:chgData name="Jacob, Karen (SPAC/PSPC) (elle-la / she-her)" userId="66e9cce0-e37b-4645-a907-f7690bd68dfb" providerId="ADAL" clId="{871AC57A-6E3B-4D85-BA02-8D6F5065EA89}" dt="2024-06-21T14:50:48.842" v="3580" actId="729"/>
        <pc:sldMkLst>
          <pc:docMk/>
          <pc:sldMk cId="3716027044" sldId="5010"/>
        </pc:sldMkLst>
      </pc:sldChg>
      <pc:sldChg chg="modSp mod modShow modNotesTx">
        <pc:chgData name="Jacob, Karen (SPAC/PSPC) (elle-la / she-her)" userId="66e9cce0-e37b-4645-a907-f7690bd68dfb" providerId="ADAL" clId="{871AC57A-6E3B-4D85-BA02-8D6F5065EA89}" dt="2024-06-21T13:09:34.946" v="1001" actId="729"/>
        <pc:sldMkLst>
          <pc:docMk/>
          <pc:sldMk cId="1717449089" sldId="5011"/>
        </pc:sldMkLst>
        <pc:spChg chg="mod">
          <ac:chgData name="Jacob, Karen (SPAC/PSPC) (elle-la / she-her)" userId="66e9cce0-e37b-4645-a907-f7690bd68dfb" providerId="ADAL" clId="{871AC57A-6E3B-4D85-BA02-8D6F5065EA89}" dt="2024-06-21T13:09:22.018" v="999"/>
          <ac:spMkLst>
            <pc:docMk/>
            <pc:sldMk cId="1717449089" sldId="5011"/>
            <ac:spMk id="3" creationId="{DE69AC7C-2B0D-CF31-48EE-53792B4D724E}"/>
          </ac:spMkLst>
        </pc:spChg>
        <pc:spChg chg="mod">
          <ac:chgData name="Jacob, Karen (SPAC/PSPC) (elle-la / she-her)" userId="66e9cce0-e37b-4645-a907-f7690bd68dfb" providerId="ADAL" clId="{871AC57A-6E3B-4D85-BA02-8D6F5065EA89}" dt="2024-06-21T13:03:28.461" v="569" actId="20577"/>
          <ac:spMkLst>
            <pc:docMk/>
            <pc:sldMk cId="1717449089" sldId="5011"/>
            <ac:spMk id="5" creationId="{A25F31FD-D91B-2F1F-48B5-8229C5FFF47F}"/>
          </ac:spMkLst>
        </pc:spChg>
      </pc:sldChg>
      <pc:sldChg chg="modSp mod">
        <pc:chgData name="Jacob, Karen (SPAC/PSPC) (elle-la / she-her)" userId="66e9cce0-e37b-4645-a907-f7690bd68dfb" providerId="ADAL" clId="{871AC57A-6E3B-4D85-BA02-8D6F5065EA89}" dt="2024-06-21T20:08:05.169" v="5490" actId="20577"/>
        <pc:sldMkLst>
          <pc:docMk/>
          <pc:sldMk cId="1053501532" sldId="5012"/>
        </pc:sldMkLst>
        <pc:spChg chg="mod">
          <ac:chgData name="Jacob, Karen (SPAC/PSPC) (elle-la / she-her)" userId="66e9cce0-e37b-4645-a907-f7690bd68dfb" providerId="ADAL" clId="{871AC57A-6E3B-4D85-BA02-8D6F5065EA89}" dt="2024-06-21T20:08:05.169" v="5490" actId="20577"/>
          <ac:spMkLst>
            <pc:docMk/>
            <pc:sldMk cId="1053501532" sldId="5012"/>
            <ac:spMk id="3" creationId="{F1C3E258-F619-5F69-B737-122EB008B65B}"/>
          </ac:spMkLst>
        </pc:spChg>
        <pc:spChg chg="mod">
          <ac:chgData name="Jacob, Karen (SPAC/PSPC) (elle-la / she-her)" userId="66e9cce0-e37b-4645-a907-f7690bd68dfb" providerId="ADAL" clId="{871AC57A-6E3B-4D85-BA02-8D6F5065EA89}" dt="2024-06-21T15:17:18.101" v="4352" actId="20577"/>
          <ac:spMkLst>
            <pc:docMk/>
            <pc:sldMk cId="1053501532" sldId="5012"/>
            <ac:spMk id="5" creationId="{EA7F99B2-4BB8-F561-E89D-85B8AF383FB1}"/>
          </ac:spMkLst>
        </pc:spChg>
      </pc:sldChg>
      <pc:sldChg chg="addSp delSp modSp add mod">
        <pc:chgData name="Jacob, Karen (SPAC/PSPC) (elle-la / she-her)" userId="66e9cce0-e37b-4645-a907-f7690bd68dfb" providerId="ADAL" clId="{871AC57A-6E3B-4D85-BA02-8D6F5065EA89}" dt="2024-06-21T15:28:30.184" v="4743" actId="20577"/>
        <pc:sldMkLst>
          <pc:docMk/>
          <pc:sldMk cId="223308526" sldId="5013"/>
        </pc:sldMkLst>
        <pc:spChg chg="mod">
          <ac:chgData name="Jacob, Karen (SPAC/PSPC) (elle-la / she-her)" userId="66e9cce0-e37b-4645-a907-f7690bd68dfb" providerId="ADAL" clId="{871AC57A-6E3B-4D85-BA02-8D6F5065EA89}" dt="2024-06-21T13:24:48.043" v="1280" actId="20577"/>
          <ac:spMkLst>
            <pc:docMk/>
            <pc:sldMk cId="223308526" sldId="5013"/>
            <ac:spMk id="2" creationId="{9DE119AA-C27C-1F93-8533-D6E1F56A43A8}"/>
          </ac:spMkLst>
        </pc:spChg>
        <pc:spChg chg="add mod">
          <ac:chgData name="Jacob, Karen (SPAC/PSPC) (elle-la / she-her)" userId="66e9cce0-e37b-4645-a907-f7690bd68dfb" providerId="ADAL" clId="{871AC57A-6E3B-4D85-BA02-8D6F5065EA89}" dt="2024-06-21T15:28:30.184" v="4743" actId="20577"/>
          <ac:spMkLst>
            <pc:docMk/>
            <pc:sldMk cId="223308526" sldId="5013"/>
            <ac:spMk id="3" creationId="{75D5A4AE-04AE-5718-297F-A8E8907540F8}"/>
          </ac:spMkLst>
        </pc:spChg>
        <pc:spChg chg="del">
          <ac:chgData name="Jacob, Karen (SPAC/PSPC) (elle-la / she-her)" userId="66e9cce0-e37b-4645-a907-f7690bd68dfb" providerId="ADAL" clId="{871AC57A-6E3B-4D85-BA02-8D6F5065EA89}" dt="2024-06-21T12:48:25.342" v="519" actId="478"/>
          <ac:spMkLst>
            <pc:docMk/>
            <pc:sldMk cId="223308526" sldId="5013"/>
            <ac:spMk id="115" creationId="{99B313E4-68F8-0E05-784F-777B53C53AD8}"/>
          </ac:spMkLst>
        </pc:spChg>
        <pc:spChg chg="del">
          <ac:chgData name="Jacob, Karen (SPAC/PSPC) (elle-la / she-her)" userId="66e9cce0-e37b-4645-a907-f7690bd68dfb" providerId="ADAL" clId="{871AC57A-6E3B-4D85-BA02-8D6F5065EA89}" dt="2024-06-21T12:48:25.342" v="519" actId="478"/>
          <ac:spMkLst>
            <pc:docMk/>
            <pc:sldMk cId="223308526" sldId="5013"/>
            <ac:spMk id="117" creationId="{C9DAC2A6-C89F-2DC3-5552-32890189A83F}"/>
          </ac:spMkLst>
        </pc:spChg>
        <pc:spChg chg="del">
          <ac:chgData name="Jacob, Karen (SPAC/PSPC) (elle-la / she-her)" userId="66e9cce0-e37b-4645-a907-f7690bd68dfb" providerId="ADAL" clId="{871AC57A-6E3B-4D85-BA02-8D6F5065EA89}" dt="2024-06-21T12:48:25.342" v="519" actId="478"/>
          <ac:spMkLst>
            <pc:docMk/>
            <pc:sldMk cId="223308526" sldId="5013"/>
            <ac:spMk id="118" creationId="{03606830-0145-BF89-5080-5EDD4851A9CA}"/>
          </ac:spMkLst>
        </pc:spChg>
        <pc:spChg chg="del">
          <ac:chgData name="Jacob, Karen (SPAC/PSPC) (elle-la / she-her)" userId="66e9cce0-e37b-4645-a907-f7690bd68dfb" providerId="ADAL" clId="{871AC57A-6E3B-4D85-BA02-8D6F5065EA89}" dt="2024-06-21T12:48:25.342" v="519" actId="478"/>
          <ac:spMkLst>
            <pc:docMk/>
            <pc:sldMk cId="223308526" sldId="5013"/>
            <ac:spMk id="121" creationId="{66B4CDA5-6D84-9E6F-207A-6E00AF65A892}"/>
          </ac:spMkLst>
        </pc:spChg>
        <pc:spChg chg="del">
          <ac:chgData name="Jacob, Karen (SPAC/PSPC) (elle-la / she-her)" userId="66e9cce0-e37b-4645-a907-f7690bd68dfb" providerId="ADAL" clId="{871AC57A-6E3B-4D85-BA02-8D6F5065EA89}" dt="2024-06-21T12:48:25.342" v="519" actId="478"/>
          <ac:spMkLst>
            <pc:docMk/>
            <pc:sldMk cId="223308526" sldId="5013"/>
            <ac:spMk id="122" creationId="{A9D90BF1-5FA9-70F0-2114-74B647F61343}"/>
          </ac:spMkLst>
        </pc:spChg>
        <pc:spChg chg="del">
          <ac:chgData name="Jacob, Karen (SPAC/PSPC) (elle-la / she-her)" userId="66e9cce0-e37b-4645-a907-f7690bd68dfb" providerId="ADAL" clId="{871AC57A-6E3B-4D85-BA02-8D6F5065EA89}" dt="2024-06-21T12:48:25.342" v="519" actId="478"/>
          <ac:spMkLst>
            <pc:docMk/>
            <pc:sldMk cId="223308526" sldId="5013"/>
            <ac:spMk id="123" creationId="{96958ADE-A4CF-B97E-6CC3-E67FA3D6703E}"/>
          </ac:spMkLst>
        </pc:spChg>
        <pc:spChg chg="del">
          <ac:chgData name="Jacob, Karen (SPAC/PSPC) (elle-la / she-her)" userId="66e9cce0-e37b-4645-a907-f7690bd68dfb" providerId="ADAL" clId="{871AC57A-6E3B-4D85-BA02-8D6F5065EA89}" dt="2024-06-21T12:48:25.342" v="519" actId="478"/>
          <ac:spMkLst>
            <pc:docMk/>
            <pc:sldMk cId="223308526" sldId="5013"/>
            <ac:spMk id="125" creationId="{C3A1B379-6571-1C49-58FA-89CBE354E722}"/>
          </ac:spMkLst>
        </pc:spChg>
        <pc:spChg chg="del">
          <ac:chgData name="Jacob, Karen (SPAC/PSPC) (elle-la / she-her)" userId="66e9cce0-e37b-4645-a907-f7690bd68dfb" providerId="ADAL" clId="{871AC57A-6E3B-4D85-BA02-8D6F5065EA89}" dt="2024-06-21T12:48:25.342" v="519" actId="478"/>
          <ac:spMkLst>
            <pc:docMk/>
            <pc:sldMk cId="223308526" sldId="5013"/>
            <ac:spMk id="126" creationId="{1D166D08-6E2D-80DD-6808-092F6378AC03}"/>
          </ac:spMkLst>
        </pc:spChg>
        <pc:spChg chg="del">
          <ac:chgData name="Jacob, Karen (SPAC/PSPC) (elle-la / she-her)" userId="66e9cce0-e37b-4645-a907-f7690bd68dfb" providerId="ADAL" clId="{871AC57A-6E3B-4D85-BA02-8D6F5065EA89}" dt="2024-06-21T12:48:25.342" v="519" actId="478"/>
          <ac:spMkLst>
            <pc:docMk/>
            <pc:sldMk cId="223308526" sldId="5013"/>
            <ac:spMk id="130" creationId="{37927CF3-81AF-9EC4-5FAE-0F465D84F953}"/>
          </ac:spMkLst>
        </pc:spChg>
        <pc:spChg chg="del">
          <ac:chgData name="Jacob, Karen (SPAC/PSPC) (elle-la / she-her)" userId="66e9cce0-e37b-4645-a907-f7690bd68dfb" providerId="ADAL" clId="{871AC57A-6E3B-4D85-BA02-8D6F5065EA89}" dt="2024-06-21T12:48:25.342" v="519" actId="478"/>
          <ac:spMkLst>
            <pc:docMk/>
            <pc:sldMk cId="223308526" sldId="5013"/>
            <ac:spMk id="131" creationId="{F71F5B42-71A6-85F9-508A-7ED7FF32727F}"/>
          </ac:spMkLst>
        </pc:spChg>
        <pc:spChg chg="del">
          <ac:chgData name="Jacob, Karen (SPAC/PSPC) (elle-la / she-her)" userId="66e9cce0-e37b-4645-a907-f7690bd68dfb" providerId="ADAL" clId="{871AC57A-6E3B-4D85-BA02-8D6F5065EA89}" dt="2024-06-21T12:48:25.342" v="519" actId="478"/>
          <ac:spMkLst>
            <pc:docMk/>
            <pc:sldMk cId="223308526" sldId="5013"/>
            <ac:spMk id="132" creationId="{972E62F7-856E-E74B-98EE-589692A22E88}"/>
          </ac:spMkLst>
        </pc:spChg>
        <pc:grpChg chg="del">
          <ac:chgData name="Jacob, Karen (SPAC/PSPC) (elle-la / she-her)" userId="66e9cce0-e37b-4645-a907-f7690bd68dfb" providerId="ADAL" clId="{871AC57A-6E3B-4D85-BA02-8D6F5065EA89}" dt="2024-06-21T12:48:25.342" v="519" actId="478"/>
          <ac:grpSpMkLst>
            <pc:docMk/>
            <pc:sldMk cId="223308526" sldId="5013"/>
            <ac:grpSpMk id="119" creationId="{35030E9D-B4CE-0B9D-28C2-9F05C1F829FA}"/>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20" creationId="{A738861C-A5D5-34D0-85CF-51FD1F064393}"/>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35" creationId="{DFC4213B-24A7-04FD-6312-18CA7ABB7C6D}"/>
          </ac:grpSpMkLst>
        </pc:grpChg>
        <pc:picChg chg="del">
          <ac:chgData name="Jacob, Karen (SPAC/PSPC) (elle-la / she-her)" userId="66e9cce0-e37b-4645-a907-f7690bd68dfb" providerId="ADAL" clId="{871AC57A-6E3B-4D85-BA02-8D6F5065EA89}" dt="2024-06-21T12:48:25.342" v="519" actId="478"/>
          <ac:picMkLst>
            <pc:docMk/>
            <pc:sldMk cId="223308526" sldId="5013"/>
            <ac:picMk id="128" creationId="{72D7B425-467D-E300-99B1-FF1BD469BAA8}"/>
          </ac:picMkLst>
        </pc:picChg>
        <pc:picChg chg="del">
          <ac:chgData name="Jacob, Karen (SPAC/PSPC) (elle-la / she-her)" userId="66e9cce0-e37b-4645-a907-f7690bd68dfb" providerId="ADAL" clId="{871AC57A-6E3B-4D85-BA02-8D6F5065EA89}" dt="2024-06-21T12:48:25.342" v="519" actId="478"/>
          <ac:picMkLst>
            <pc:docMk/>
            <pc:sldMk cId="223308526" sldId="5013"/>
            <ac:picMk id="129" creationId="{E625BF06-9D3F-0649-97EF-1BA8A59764D7}"/>
          </ac:picMkLst>
        </pc:picChg>
        <pc:picChg chg="del">
          <ac:chgData name="Jacob, Karen (SPAC/PSPC) (elle-la / she-her)" userId="66e9cce0-e37b-4645-a907-f7690bd68dfb" providerId="ADAL" clId="{871AC57A-6E3B-4D85-BA02-8D6F5065EA89}" dt="2024-06-21T12:48:25.342" v="519" actId="478"/>
          <ac:picMkLst>
            <pc:docMk/>
            <pc:sldMk cId="223308526" sldId="5013"/>
            <ac:picMk id="133" creationId="{2C4D393D-1B54-98F0-19F7-D0F7CB3EDE01}"/>
          </ac:picMkLst>
        </pc:picChg>
        <pc:picChg chg="del">
          <ac:chgData name="Jacob, Karen (SPAC/PSPC) (elle-la / she-her)" userId="66e9cce0-e37b-4645-a907-f7690bd68dfb" providerId="ADAL" clId="{871AC57A-6E3B-4D85-BA02-8D6F5065EA89}" dt="2024-06-21T12:48:25.342" v="519" actId="478"/>
          <ac:picMkLst>
            <pc:docMk/>
            <pc:sldMk cId="223308526" sldId="5013"/>
            <ac:picMk id="134" creationId="{5BE65366-221B-6F0C-7BDE-1611F267E4E8}"/>
          </ac:picMkLst>
        </pc:picChg>
      </pc:sldChg>
      <pc:sldChg chg="addSp delSp modSp add mod ord delCm">
        <pc:chgData name="Jacob, Karen (SPAC/PSPC) (elle-la / she-her)" userId="66e9cce0-e37b-4645-a907-f7690bd68dfb" providerId="ADAL" clId="{871AC57A-6E3B-4D85-BA02-8D6F5065EA89}" dt="2024-06-21T15:54:54.151" v="5118" actId="20577"/>
        <pc:sldMkLst>
          <pc:docMk/>
          <pc:sldMk cId="2648589367" sldId="5014"/>
        </pc:sldMkLst>
        <pc:spChg chg="mod">
          <ac:chgData name="Jacob, Karen (SPAC/PSPC) (elle-la / she-her)" userId="66e9cce0-e37b-4645-a907-f7690bd68dfb" providerId="ADAL" clId="{871AC57A-6E3B-4D85-BA02-8D6F5065EA89}" dt="2024-06-21T15:54:54.151" v="5118" actId="20577"/>
          <ac:spMkLst>
            <pc:docMk/>
            <pc:sldMk cId="2648589367" sldId="5014"/>
            <ac:spMk id="3" creationId="{DE69AC7C-2B0D-CF31-48EE-53792B4D724E}"/>
          </ac:spMkLst>
        </pc:spChg>
        <pc:spChg chg="add del mod">
          <ac:chgData name="Jacob, Karen (SPAC/PSPC) (elle-la / she-her)" userId="66e9cce0-e37b-4645-a907-f7690bd68dfb" providerId="ADAL" clId="{871AC57A-6E3B-4D85-BA02-8D6F5065EA89}" dt="2024-06-21T13:22:54.244" v="1187" actId="478"/>
          <ac:spMkLst>
            <pc:docMk/>
            <pc:sldMk cId="2648589367" sldId="5014"/>
            <ac:spMk id="4" creationId="{AB6D7910-BF9E-BA2E-759E-9A7ADDAD663C}"/>
          </ac:spMkLst>
        </pc:spChg>
        <pc:picChg chg="del">
          <ac:chgData name="Jacob, Karen (SPAC/PSPC) (elle-la / she-her)" userId="66e9cce0-e37b-4645-a907-f7690bd68dfb" providerId="ADAL" clId="{871AC57A-6E3B-4D85-BA02-8D6F5065EA89}" dt="2024-06-21T13:22:51.248" v="1186" actId="478"/>
          <ac:picMkLst>
            <pc:docMk/>
            <pc:sldMk cId="2648589367" sldId="5014"/>
            <ac:picMk id="9" creationId="{454D520A-4398-C925-7442-7C2F3F09B382}"/>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3:09:29.966" v="1000"/>
              <pc2:cmMkLst xmlns:pc2="http://schemas.microsoft.com/office/powerpoint/2019/9/main/command">
                <pc:docMk/>
                <pc:sldMk cId="2648589367" sldId="5014"/>
                <pc2:cmMk id="{94F29DB1-DBF2-41F0-829D-6465F6DB99F6}"/>
              </pc2:cmMkLst>
            </pc226:cmChg>
          </p:ext>
        </pc:extLst>
      </pc:sldChg>
      <pc:sldChg chg="modSp add del mod modShow">
        <pc:chgData name="Jacob, Karen (SPAC/PSPC) (elle-la / she-her)" userId="66e9cce0-e37b-4645-a907-f7690bd68dfb" providerId="ADAL" clId="{871AC57A-6E3B-4D85-BA02-8D6F5065EA89}" dt="2024-06-21T14:51:21.235" v="3582" actId="47"/>
        <pc:sldMkLst>
          <pc:docMk/>
          <pc:sldMk cId="1328924416" sldId="5015"/>
        </pc:sldMkLst>
        <pc:spChg chg="mod">
          <ac:chgData name="Jacob, Karen (SPAC/PSPC) (elle-la / she-her)" userId="66e9cce0-e37b-4645-a907-f7690bd68dfb" providerId="ADAL" clId="{871AC57A-6E3B-4D85-BA02-8D6F5065EA89}" dt="2024-06-21T13:42:37.210" v="1448" actId="1076"/>
          <ac:spMkLst>
            <pc:docMk/>
            <pc:sldMk cId="1328924416" sldId="5015"/>
            <ac:spMk id="54" creationId="{5490FC9F-889D-A044-9A24-51CB6BB0725C}"/>
          </ac:spMkLst>
        </pc:spChg>
        <pc:spChg chg="mod">
          <ac:chgData name="Jacob, Karen (SPAC/PSPC) (elle-la / she-her)" userId="66e9cce0-e37b-4645-a907-f7690bd68dfb" providerId="ADAL" clId="{871AC57A-6E3B-4D85-BA02-8D6F5065EA89}" dt="2024-06-21T13:56:49.460" v="1541" actId="120"/>
          <ac:spMkLst>
            <pc:docMk/>
            <pc:sldMk cId="1328924416" sldId="5015"/>
            <ac:spMk id="55" creationId="{C65A198B-1883-1A4B-A8B4-DD725DC9EB17}"/>
          </ac:spMkLst>
        </pc:spChg>
        <pc:spChg chg="mod">
          <ac:chgData name="Jacob, Karen (SPAC/PSPC) (elle-la / she-her)" userId="66e9cce0-e37b-4645-a907-f7690bd68dfb" providerId="ADAL" clId="{871AC57A-6E3B-4D85-BA02-8D6F5065EA89}" dt="2024-06-21T13:42:41.013" v="1449" actId="1076"/>
          <ac:spMkLst>
            <pc:docMk/>
            <pc:sldMk cId="1328924416" sldId="5015"/>
            <ac:spMk id="56" creationId="{432E7640-9E73-0D40-A6F4-AC27C1BD258B}"/>
          </ac:spMkLst>
        </pc:spChg>
      </pc:sldChg>
      <pc:sldChg chg="addSp delSp modSp add del mod setBg">
        <pc:chgData name="Jacob, Karen (SPAC/PSPC) (elle-la / she-her)" userId="66e9cce0-e37b-4645-a907-f7690bd68dfb" providerId="ADAL" clId="{871AC57A-6E3B-4D85-BA02-8D6F5065EA89}" dt="2024-06-21T13:26:44.399" v="1336" actId="47"/>
        <pc:sldMkLst>
          <pc:docMk/>
          <pc:sldMk cId="2593378778" sldId="5015"/>
        </pc:sldMkLst>
        <pc:spChg chg="add del mod">
          <ac:chgData name="Jacob, Karen (SPAC/PSPC) (elle-la / she-her)" userId="66e9cce0-e37b-4645-a907-f7690bd68dfb" providerId="ADAL" clId="{871AC57A-6E3B-4D85-BA02-8D6F5065EA89}" dt="2024-06-21T13:25:19.155" v="1283" actId="478"/>
          <ac:spMkLst>
            <pc:docMk/>
            <pc:sldMk cId="2593378778" sldId="5015"/>
            <ac:spMk id="5" creationId="{7052C023-2377-47D1-3DF0-3D8D9BF914CF}"/>
          </ac:spMkLst>
        </pc:spChg>
        <pc:spChg chg="mod">
          <ac:chgData name="Jacob, Karen (SPAC/PSPC) (elle-la / she-her)" userId="66e9cce0-e37b-4645-a907-f7690bd68dfb" providerId="ADAL" clId="{871AC57A-6E3B-4D85-BA02-8D6F5065EA89}" dt="2024-06-21T13:26:32.426" v="1335" actId="20577"/>
          <ac:spMkLst>
            <pc:docMk/>
            <pc:sldMk cId="2593378778" sldId="5015"/>
            <ac:spMk id="6" creationId="{1E046C2E-5794-1A98-BBEA-235FF863B218}"/>
          </ac:spMkLst>
        </pc:spChg>
        <pc:picChg chg="del">
          <ac:chgData name="Jacob, Karen (SPAC/PSPC) (elle-la / she-her)" userId="66e9cce0-e37b-4645-a907-f7690bd68dfb" providerId="ADAL" clId="{871AC57A-6E3B-4D85-BA02-8D6F5065EA89}" dt="2024-06-21T13:25:14.634" v="1282" actId="478"/>
          <ac:picMkLst>
            <pc:docMk/>
            <pc:sldMk cId="2593378778" sldId="5015"/>
            <ac:picMk id="9" creationId="{013C9C46-AB96-1193-BAA4-09DB126E5274}"/>
          </ac:picMkLst>
        </pc:picChg>
      </pc:sldChg>
      <pc:sldChg chg="modSp add mod">
        <pc:chgData name="Jacob, Karen (SPAC/PSPC) (elle-la / she-her)" userId="66e9cce0-e37b-4645-a907-f7690bd68dfb" providerId="ADAL" clId="{871AC57A-6E3B-4D85-BA02-8D6F5065EA89}" dt="2024-07-09T13:09:42.354" v="6344" actId="20577"/>
        <pc:sldMkLst>
          <pc:docMk/>
          <pc:sldMk cId="1008670027" sldId="5016"/>
        </pc:sldMkLst>
        <pc:spChg chg="mod">
          <ac:chgData name="Jacob, Karen (SPAC/PSPC) (elle-la / she-her)" userId="66e9cce0-e37b-4645-a907-f7690bd68dfb" providerId="ADAL" clId="{871AC57A-6E3B-4D85-BA02-8D6F5065EA89}" dt="2024-06-21T14:33:00.361" v="2876" actId="20577"/>
          <ac:spMkLst>
            <pc:docMk/>
            <pc:sldMk cId="1008670027" sldId="5016"/>
            <ac:spMk id="2" creationId="{459AFBF6-A3FE-12ED-8681-E058ECB7745D}"/>
          </ac:spMkLst>
        </pc:spChg>
        <pc:spChg chg="mod">
          <ac:chgData name="Jacob, Karen (SPAC/PSPC) (elle-la / she-her)" userId="66e9cce0-e37b-4645-a907-f7690bd68dfb" providerId="ADAL" clId="{871AC57A-6E3B-4D85-BA02-8D6F5065EA89}" dt="2024-07-09T13:09:42.354" v="6344" actId="20577"/>
          <ac:spMkLst>
            <pc:docMk/>
            <pc:sldMk cId="1008670027" sldId="5016"/>
            <ac:spMk id="3" creationId="{CC8B02F3-0C27-03C9-5D56-EC07236B6660}"/>
          </ac:spMkLst>
        </pc:spChg>
      </pc:sldChg>
      <pc:sldChg chg="modSp new mod">
        <pc:chgData name="Jacob, Karen (SPAC/PSPC) (elle-la / she-her)" userId="66e9cce0-e37b-4645-a907-f7690bd68dfb" providerId="ADAL" clId="{871AC57A-6E3B-4D85-BA02-8D6F5065EA89}" dt="2024-06-21T14:44:27.385" v="3223" actId="20577"/>
        <pc:sldMkLst>
          <pc:docMk/>
          <pc:sldMk cId="492946276" sldId="5017"/>
        </pc:sldMkLst>
        <pc:spChg chg="mod">
          <ac:chgData name="Jacob, Karen (SPAC/PSPC) (elle-la / she-her)" userId="66e9cce0-e37b-4645-a907-f7690bd68dfb" providerId="ADAL" clId="{871AC57A-6E3B-4D85-BA02-8D6F5065EA89}" dt="2024-06-21T14:44:27.385" v="3223" actId="20577"/>
          <ac:spMkLst>
            <pc:docMk/>
            <pc:sldMk cId="492946276" sldId="5017"/>
            <ac:spMk id="4" creationId="{288FC6AA-879C-CA09-C27C-5EB07939869C}"/>
          </ac:spMkLst>
        </pc:spChg>
      </pc:sldChg>
      <pc:sldChg chg="addSp delSp modSp new mod">
        <pc:chgData name="Jacob, Karen (SPAC/PSPC) (elle-la / she-her)" userId="66e9cce0-e37b-4645-a907-f7690bd68dfb" providerId="ADAL" clId="{871AC57A-6E3B-4D85-BA02-8D6F5065EA89}" dt="2024-07-09T18:30:11.750" v="7189" actId="20577"/>
        <pc:sldMkLst>
          <pc:docMk/>
          <pc:sldMk cId="3865673805" sldId="5018"/>
        </pc:sldMkLst>
        <pc:spChg chg="del">
          <ac:chgData name="Jacob, Karen (SPAC/PSPC) (elle-la / she-her)" userId="66e9cce0-e37b-4645-a907-f7690bd68dfb" providerId="ADAL" clId="{871AC57A-6E3B-4D85-BA02-8D6F5065EA89}" dt="2024-06-21T14:46:46.734" v="3284" actId="478"/>
          <ac:spMkLst>
            <pc:docMk/>
            <pc:sldMk cId="3865673805" sldId="5018"/>
            <ac:spMk id="2" creationId="{5E8D855E-41D9-F8D2-3FD8-80C0C0982206}"/>
          </ac:spMkLst>
        </pc:spChg>
        <pc:spChg chg="add mod">
          <ac:chgData name="Jacob, Karen (SPAC/PSPC) (elle-la / she-her)" userId="66e9cce0-e37b-4645-a907-f7690bd68dfb" providerId="ADAL" clId="{871AC57A-6E3B-4D85-BA02-8D6F5065EA89}" dt="2024-07-08T21:14:15.120" v="6284" actId="1038"/>
          <ac:spMkLst>
            <pc:docMk/>
            <pc:sldMk cId="3865673805" sldId="5018"/>
            <ac:spMk id="3" creationId="{13DCD74A-6998-F023-D695-DD9F937CE93F}"/>
          </ac:spMkLst>
        </pc:spChg>
        <pc:spChg chg="del">
          <ac:chgData name="Jacob, Karen (SPAC/PSPC) (elle-la / she-her)" userId="66e9cce0-e37b-4645-a907-f7690bd68dfb" providerId="ADAL" clId="{871AC57A-6E3B-4D85-BA02-8D6F5065EA89}" dt="2024-06-21T14:46:49.582" v="3285" actId="478"/>
          <ac:spMkLst>
            <pc:docMk/>
            <pc:sldMk cId="3865673805" sldId="5018"/>
            <ac:spMk id="3" creationId="{DCCBAEE0-BF6E-6FC9-741B-6B3DA8EF27BE}"/>
          </ac:spMkLst>
        </pc:spChg>
        <pc:spChg chg="mod">
          <ac:chgData name="Jacob, Karen (SPAC/PSPC) (elle-la / she-her)" userId="66e9cce0-e37b-4645-a907-f7690bd68dfb" providerId="ADAL" clId="{871AC57A-6E3B-4D85-BA02-8D6F5065EA89}" dt="2024-07-09T17:22:18.320" v="7128" actId="20577"/>
          <ac:spMkLst>
            <pc:docMk/>
            <pc:sldMk cId="3865673805" sldId="5018"/>
            <ac:spMk id="4" creationId="{5CFF1F66-C9F8-5499-40CC-51C8B8764C38}"/>
          </ac:spMkLst>
        </pc:spChg>
        <pc:spChg chg="add mod">
          <ac:chgData name="Jacob, Karen (SPAC/PSPC) (elle-la / she-her)" userId="66e9cce0-e37b-4645-a907-f7690bd68dfb" providerId="ADAL" clId="{871AC57A-6E3B-4D85-BA02-8D6F5065EA89}" dt="2024-07-08T21:14:15.120" v="6284" actId="1038"/>
          <ac:spMkLst>
            <pc:docMk/>
            <pc:sldMk cId="3865673805" sldId="5018"/>
            <ac:spMk id="5" creationId="{252009ED-9673-DE27-8712-DE8DAD6E21E0}"/>
          </ac:spMkLst>
        </pc:spChg>
        <pc:spChg chg="add mod">
          <ac:chgData name="Jacob, Karen (SPAC/PSPC) (elle-la / she-her)" userId="66e9cce0-e37b-4645-a907-f7690bd68dfb" providerId="ADAL" clId="{871AC57A-6E3B-4D85-BA02-8D6F5065EA89}" dt="2024-07-08T21:14:15.120" v="6284" actId="1038"/>
          <ac:spMkLst>
            <pc:docMk/>
            <pc:sldMk cId="3865673805" sldId="5018"/>
            <ac:spMk id="6" creationId="{E26D1384-8E76-9A8B-B475-DE870612B95D}"/>
          </ac:spMkLst>
        </pc:spChg>
        <pc:spChg chg="add mod">
          <ac:chgData name="Jacob, Karen (SPAC/PSPC) (elle-la / she-her)" userId="66e9cce0-e37b-4645-a907-f7690bd68dfb" providerId="ADAL" clId="{871AC57A-6E3B-4D85-BA02-8D6F5065EA89}" dt="2024-07-08T21:14:15.120" v="6284" actId="1038"/>
          <ac:spMkLst>
            <pc:docMk/>
            <pc:sldMk cId="3865673805" sldId="5018"/>
            <ac:spMk id="8" creationId="{23E99F4F-F3B2-6B21-75A4-29202AF2EDAE}"/>
          </ac:spMkLst>
        </pc:spChg>
        <pc:spChg chg="add mod">
          <ac:chgData name="Jacob, Karen (SPAC/PSPC) (elle-la / she-her)" userId="66e9cce0-e37b-4645-a907-f7690bd68dfb" providerId="ADAL" clId="{871AC57A-6E3B-4D85-BA02-8D6F5065EA89}" dt="2024-07-08T21:14:15.120" v="6284" actId="1038"/>
          <ac:spMkLst>
            <pc:docMk/>
            <pc:sldMk cId="3865673805" sldId="5018"/>
            <ac:spMk id="9" creationId="{0F0AB770-5A31-5D88-5DC8-C9BAB7804201}"/>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0" creationId="{E49B5449-959A-7DA6-0EA2-232C2BB62871}"/>
          </ac:spMkLst>
        </pc:spChg>
        <pc:spChg chg="add mod">
          <ac:chgData name="Jacob, Karen (SPAC/PSPC) (elle-la / she-her)" userId="66e9cce0-e37b-4645-a907-f7690bd68dfb" providerId="ADAL" clId="{871AC57A-6E3B-4D85-BA02-8D6F5065EA89}" dt="2024-07-08T21:14:15.120" v="6284" actId="1038"/>
          <ac:spMkLst>
            <pc:docMk/>
            <pc:sldMk cId="3865673805" sldId="5018"/>
            <ac:spMk id="11" creationId="{4168E461-9019-0256-7847-A59482620E08}"/>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2" creationId="{641A1C60-574D-C16D-A641-07C3B4DFAF69}"/>
          </ac:spMkLst>
        </pc:spChg>
        <pc:spChg chg="add mod">
          <ac:chgData name="Jacob, Karen (SPAC/PSPC) (elle-la / she-her)" userId="66e9cce0-e37b-4645-a907-f7690bd68dfb" providerId="ADAL" clId="{871AC57A-6E3B-4D85-BA02-8D6F5065EA89}" dt="2024-07-08T21:14:15.120" v="6284" actId="1038"/>
          <ac:spMkLst>
            <pc:docMk/>
            <pc:sldMk cId="3865673805" sldId="5018"/>
            <ac:spMk id="14" creationId="{E8367094-C7DF-CBCF-AF5E-8E4489281A4B}"/>
          </ac:spMkLst>
        </pc:spChg>
        <pc:spChg chg="add mod">
          <ac:chgData name="Jacob, Karen (SPAC/PSPC) (elle-la / she-her)" userId="66e9cce0-e37b-4645-a907-f7690bd68dfb" providerId="ADAL" clId="{871AC57A-6E3B-4D85-BA02-8D6F5065EA89}" dt="2024-07-08T21:14:15.120" v="6284" actId="1038"/>
          <ac:spMkLst>
            <pc:docMk/>
            <pc:sldMk cId="3865673805" sldId="5018"/>
            <ac:spMk id="16" creationId="{60A4BDE2-E6E1-BEFA-6545-10F4A9C4B38E}"/>
          </ac:spMkLst>
        </pc:spChg>
        <pc:spChg chg="add mod">
          <ac:chgData name="Jacob, Karen (SPAC/PSPC) (elle-la / she-her)" userId="66e9cce0-e37b-4645-a907-f7690bd68dfb" providerId="ADAL" clId="{871AC57A-6E3B-4D85-BA02-8D6F5065EA89}" dt="2024-07-08T21:14:15.120" v="6284" actId="1038"/>
          <ac:spMkLst>
            <pc:docMk/>
            <pc:sldMk cId="3865673805" sldId="5018"/>
            <ac:spMk id="17" creationId="{BE2C8F62-70A2-F29B-59A9-A79C3CD3C98F}"/>
          </ac:spMkLst>
        </pc:spChg>
        <pc:spChg chg="add mod">
          <ac:chgData name="Jacob, Karen (SPAC/PSPC) (elle-la / she-her)" userId="66e9cce0-e37b-4645-a907-f7690bd68dfb" providerId="ADAL" clId="{871AC57A-6E3B-4D85-BA02-8D6F5065EA89}" dt="2024-07-08T21:14:15.120" v="6284" actId="1038"/>
          <ac:spMkLst>
            <pc:docMk/>
            <pc:sldMk cId="3865673805" sldId="5018"/>
            <ac:spMk id="19" creationId="{949E1EBB-B5B0-7C59-331C-F95BADD85A45}"/>
          </ac:spMkLst>
        </pc:spChg>
        <pc:spChg chg="add mod">
          <ac:chgData name="Jacob, Karen (SPAC/PSPC) (elle-la / she-her)" userId="66e9cce0-e37b-4645-a907-f7690bd68dfb" providerId="ADAL" clId="{871AC57A-6E3B-4D85-BA02-8D6F5065EA89}" dt="2024-07-08T21:14:15.120" v="6284" actId="1038"/>
          <ac:spMkLst>
            <pc:docMk/>
            <pc:sldMk cId="3865673805" sldId="5018"/>
            <ac:spMk id="20" creationId="{B3A81356-6D92-78A8-3DC1-7B7F6043FA67}"/>
          </ac:spMkLst>
        </pc:spChg>
        <pc:spChg chg="add mod">
          <ac:chgData name="Jacob, Karen (SPAC/PSPC) (elle-la / she-her)" userId="66e9cce0-e37b-4645-a907-f7690bd68dfb" providerId="ADAL" clId="{871AC57A-6E3B-4D85-BA02-8D6F5065EA89}" dt="2024-07-08T21:14:15.120" v="6284" actId="1038"/>
          <ac:spMkLst>
            <pc:docMk/>
            <pc:sldMk cId="3865673805" sldId="5018"/>
            <ac:spMk id="21" creationId="{8B26B707-9B50-D4B7-CE03-18C890FBEA1E}"/>
          </ac:spMkLst>
        </pc:spChg>
        <pc:spChg chg="add mod">
          <ac:chgData name="Jacob, Karen (SPAC/PSPC) (elle-la / she-her)" userId="66e9cce0-e37b-4645-a907-f7690bd68dfb" providerId="ADAL" clId="{871AC57A-6E3B-4D85-BA02-8D6F5065EA89}" dt="2024-07-08T21:14:15.120" v="6284" actId="1038"/>
          <ac:spMkLst>
            <pc:docMk/>
            <pc:sldMk cId="3865673805" sldId="5018"/>
            <ac:spMk id="22" creationId="{153AD99E-969D-CDB0-2F1A-03C010B4CA2F}"/>
          </ac:spMkLst>
        </pc:spChg>
        <pc:spChg chg="add mod">
          <ac:chgData name="Jacob, Karen (SPAC/PSPC) (elle-la / she-her)" userId="66e9cce0-e37b-4645-a907-f7690bd68dfb" providerId="ADAL" clId="{871AC57A-6E3B-4D85-BA02-8D6F5065EA89}" dt="2024-07-08T21:14:15.120" v="6284" actId="1038"/>
          <ac:spMkLst>
            <pc:docMk/>
            <pc:sldMk cId="3865673805" sldId="5018"/>
            <ac:spMk id="23" creationId="{5009506C-9AF6-D811-B74A-D0334300F2A4}"/>
          </ac:spMkLst>
        </pc:spChg>
        <pc:spChg chg="add mod">
          <ac:chgData name="Jacob, Karen (SPAC/PSPC) (elle-la / she-her)" userId="66e9cce0-e37b-4645-a907-f7690bd68dfb" providerId="ADAL" clId="{871AC57A-6E3B-4D85-BA02-8D6F5065EA89}" dt="2024-07-08T21:14:15.120" v="6284" actId="1038"/>
          <ac:spMkLst>
            <pc:docMk/>
            <pc:sldMk cId="3865673805" sldId="5018"/>
            <ac:spMk id="25" creationId="{BB5B164B-32E5-447E-7986-F11E54636D93}"/>
          </ac:spMkLst>
        </pc:spChg>
        <pc:spChg chg="add mod">
          <ac:chgData name="Jacob, Karen (SPAC/PSPC) (elle-la / she-her)" userId="66e9cce0-e37b-4645-a907-f7690bd68dfb" providerId="ADAL" clId="{871AC57A-6E3B-4D85-BA02-8D6F5065EA89}" dt="2024-07-08T21:14:15.120" v="6284" actId="1038"/>
          <ac:spMkLst>
            <pc:docMk/>
            <pc:sldMk cId="3865673805" sldId="5018"/>
            <ac:spMk id="26" creationId="{F54B95CE-09AF-C40B-10E8-38309EBC5D2C}"/>
          </ac:spMkLst>
        </pc:spChg>
        <pc:spChg chg="add mod">
          <ac:chgData name="Jacob, Karen (SPAC/PSPC) (elle-la / she-her)" userId="66e9cce0-e37b-4645-a907-f7690bd68dfb" providerId="ADAL" clId="{871AC57A-6E3B-4D85-BA02-8D6F5065EA89}" dt="2024-07-08T21:14:15.120" v="6284" actId="1038"/>
          <ac:spMkLst>
            <pc:docMk/>
            <pc:sldMk cId="3865673805" sldId="5018"/>
            <ac:spMk id="27" creationId="{00CEC2D0-B816-A4AA-98FF-42B3C53A244F}"/>
          </ac:spMkLst>
        </pc:spChg>
        <pc:spChg chg="add mod">
          <ac:chgData name="Jacob, Karen (SPAC/PSPC) (elle-la / she-her)" userId="66e9cce0-e37b-4645-a907-f7690bd68dfb" providerId="ADAL" clId="{871AC57A-6E3B-4D85-BA02-8D6F5065EA89}" dt="2024-07-08T21:14:15.120" v="6284" actId="1038"/>
          <ac:spMkLst>
            <pc:docMk/>
            <pc:sldMk cId="3865673805" sldId="5018"/>
            <ac:spMk id="28" creationId="{E24B5A4D-D3D0-4B88-EE19-E2BACA852406}"/>
          </ac:spMkLst>
        </pc:spChg>
        <pc:spChg chg="add mod">
          <ac:chgData name="Jacob, Karen (SPAC/PSPC) (elle-la / she-her)" userId="66e9cce0-e37b-4645-a907-f7690bd68dfb" providerId="ADAL" clId="{871AC57A-6E3B-4D85-BA02-8D6F5065EA89}" dt="2024-07-08T21:14:15.120" v="6284" actId="1038"/>
          <ac:spMkLst>
            <pc:docMk/>
            <pc:sldMk cId="3865673805" sldId="5018"/>
            <ac:spMk id="29" creationId="{EDA9D9ED-7A9A-1762-D5B3-9D3978C4998E}"/>
          </ac:spMkLst>
        </pc:spChg>
        <pc:spChg chg="add mod">
          <ac:chgData name="Jacob, Karen (SPAC/PSPC) (elle-la / she-her)" userId="66e9cce0-e37b-4645-a907-f7690bd68dfb" providerId="ADAL" clId="{871AC57A-6E3B-4D85-BA02-8D6F5065EA89}" dt="2024-07-08T21:14:15.120" v="6284" actId="1038"/>
          <ac:spMkLst>
            <pc:docMk/>
            <pc:sldMk cId="3865673805" sldId="5018"/>
            <ac:spMk id="31" creationId="{89EC5A0B-8CD2-4D4C-3E71-927F1BFDB370}"/>
          </ac:spMkLst>
        </pc:spChg>
        <pc:spChg chg="add mod">
          <ac:chgData name="Jacob, Karen (SPAC/PSPC) (elle-la / she-her)" userId="66e9cce0-e37b-4645-a907-f7690bd68dfb" providerId="ADAL" clId="{871AC57A-6E3B-4D85-BA02-8D6F5065EA89}" dt="2024-07-09T13:51:37.365" v="6653" actId="1076"/>
          <ac:spMkLst>
            <pc:docMk/>
            <pc:sldMk cId="3865673805" sldId="5018"/>
            <ac:spMk id="32" creationId="{CA864140-7987-A572-621D-80A839AD187F}"/>
          </ac:spMkLst>
        </pc:spChg>
        <pc:spChg chg="add mod">
          <ac:chgData name="Jacob, Karen (SPAC/PSPC) (elle-la / she-her)" userId="66e9cce0-e37b-4645-a907-f7690bd68dfb" providerId="ADAL" clId="{871AC57A-6E3B-4D85-BA02-8D6F5065EA89}" dt="2024-07-08T21:14:15.120" v="6284" actId="1038"/>
          <ac:spMkLst>
            <pc:docMk/>
            <pc:sldMk cId="3865673805" sldId="5018"/>
            <ac:spMk id="34" creationId="{DED31946-3A88-3B27-CAFD-D81126891350}"/>
          </ac:spMkLst>
        </pc:spChg>
        <pc:spChg chg="add mod">
          <ac:chgData name="Jacob, Karen (SPAC/PSPC) (elle-la / she-her)" userId="66e9cce0-e37b-4645-a907-f7690bd68dfb" providerId="ADAL" clId="{871AC57A-6E3B-4D85-BA02-8D6F5065EA89}" dt="2024-07-08T21:14:15.120" v="6284" actId="1038"/>
          <ac:spMkLst>
            <pc:docMk/>
            <pc:sldMk cId="3865673805" sldId="5018"/>
            <ac:spMk id="35" creationId="{0AD30AF3-6F71-6556-CAD0-415C4A0ED505}"/>
          </ac:spMkLst>
        </pc:spChg>
        <pc:spChg chg="add mod">
          <ac:chgData name="Jacob, Karen (SPAC/PSPC) (elle-la / she-her)" userId="66e9cce0-e37b-4645-a907-f7690bd68dfb" providerId="ADAL" clId="{871AC57A-6E3B-4D85-BA02-8D6F5065EA89}" dt="2024-07-08T21:14:15.120" v="6284" actId="1038"/>
          <ac:spMkLst>
            <pc:docMk/>
            <pc:sldMk cId="3865673805" sldId="5018"/>
            <ac:spMk id="36" creationId="{5C90F134-E0D2-DCDE-ECD6-B419D029FA78}"/>
          </ac:spMkLst>
        </pc:spChg>
        <pc:spChg chg="add mod">
          <ac:chgData name="Jacob, Karen (SPAC/PSPC) (elle-la / she-her)" userId="66e9cce0-e37b-4645-a907-f7690bd68dfb" providerId="ADAL" clId="{871AC57A-6E3B-4D85-BA02-8D6F5065EA89}" dt="2024-07-08T21:14:15.120" v="6284" actId="1038"/>
          <ac:spMkLst>
            <pc:docMk/>
            <pc:sldMk cId="3865673805" sldId="5018"/>
            <ac:spMk id="37" creationId="{18901499-BBEF-67D4-3F59-37A24ED0BEED}"/>
          </ac:spMkLst>
        </pc:spChg>
        <pc:spChg chg="add mod">
          <ac:chgData name="Jacob, Karen (SPAC/PSPC) (elle-la / she-her)" userId="66e9cce0-e37b-4645-a907-f7690bd68dfb" providerId="ADAL" clId="{871AC57A-6E3B-4D85-BA02-8D6F5065EA89}" dt="2024-07-08T21:14:15.120" v="6284" actId="1038"/>
          <ac:spMkLst>
            <pc:docMk/>
            <pc:sldMk cId="3865673805" sldId="5018"/>
            <ac:spMk id="38" creationId="{C4B3ACDF-F9DE-5445-B161-1597312A56A1}"/>
          </ac:spMkLst>
        </pc:spChg>
        <pc:spChg chg="add mod">
          <ac:chgData name="Jacob, Karen (SPAC/PSPC) (elle-la / she-her)" userId="66e9cce0-e37b-4645-a907-f7690bd68dfb" providerId="ADAL" clId="{871AC57A-6E3B-4D85-BA02-8D6F5065EA89}" dt="2024-07-08T21:14:15.120" v="6284" actId="1038"/>
          <ac:spMkLst>
            <pc:docMk/>
            <pc:sldMk cId="3865673805" sldId="5018"/>
            <ac:spMk id="40" creationId="{64D76BAA-855E-6319-281A-AEEFD5B609B2}"/>
          </ac:spMkLst>
        </pc:spChg>
        <pc:spChg chg="add mod">
          <ac:chgData name="Jacob, Karen (SPAC/PSPC) (elle-la / she-her)" userId="66e9cce0-e37b-4645-a907-f7690bd68dfb" providerId="ADAL" clId="{871AC57A-6E3B-4D85-BA02-8D6F5065EA89}" dt="2024-07-08T21:14:15.120" v="6284" actId="1038"/>
          <ac:spMkLst>
            <pc:docMk/>
            <pc:sldMk cId="3865673805" sldId="5018"/>
            <ac:spMk id="41" creationId="{D4C84D6D-4280-615B-12A1-87A6343C60F4}"/>
          </ac:spMkLst>
        </pc:spChg>
        <pc:spChg chg="add mod">
          <ac:chgData name="Jacob, Karen (SPAC/PSPC) (elle-la / she-her)" userId="66e9cce0-e37b-4645-a907-f7690bd68dfb" providerId="ADAL" clId="{871AC57A-6E3B-4D85-BA02-8D6F5065EA89}" dt="2024-07-09T13:37:01.888" v="6374" actId="1076"/>
          <ac:spMkLst>
            <pc:docMk/>
            <pc:sldMk cId="3865673805" sldId="5018"/>
            <ac:spMk id="47" creationId="{6F061153-9151-0D2F-6C2F-16E75EEC8F0B}"/>
          </ac:spMkLst>
        </pc:spChg>
        <pc:spChg chg="add mod">
          <ac:chgData name="Jacob, Karen (SPAC/PSPC) (elle-la / she-her)" userId="66e9cce0-e37b-4645-a907-f7690bd68dfb" providerId="ADAL" clId="{871AC57A-6E3B-4D85-BA02-8D6F5065EA89}" dt="2024-07-09T13:39:09.879" v="6449" actId="1076"/>
          <ac:spMkLst>
            <pc:docMk/>
            <pc:sldMk cId="3865673805" sldId="5018"/>
            <ac:spMk id="48" creationId="{6B16CA0D-CB1F-D6ED-89BE-F6616AE840BF}"/>
          </ac:spMkLst>
        </pc:spChg>
        <pc:spChg chg="add del mod">
          <ac:chgData name="Jacob, Karen (SPAC/PSPC) (elle-la / she-her)" userId="66e9cce0-e37b-4645-a907-f7690bd68dfb" providerId="ADAL" clId="{871AC57A-6E3B-4D85-BA02-8D6F5065EA89}" dt="2024-07-09T13:51:15.187" v="6650" actId="478"/>
          <ac:spMkLst>
            <pc:docMk/>
            <pc:sldMk cId="3865673805" sldId="5018"/>
            <ac:spMk id="49" creationId="{374790EF-3C2A-7A40-E4D7-CD6E7D25B5F5}"/>
          </ac:spMkLst>
        </pc:spChg>
        <pc:spChg chg="add del mod">
          <ac:chgData name="Jacob, Karen (SPAC/PSPC) (elle-la / she-her)" userId="66e9cce0-e37b-4645-a907-f7690bd68dfb" providerId="ADAL" clId="{871AC57A-6E3B-4D85-BA02-8D6F5065EA89}" dt="2024-07-09T13:51:12.137" v="6649" actId="478"/>
          <ac:spMkLst>
            <pc:docMk/>
            <pc:sldMk cId="3865673805" sldId="5018"/>
            <ac:spMk id="50" creationId="{9F54C5C7-F798-2030-76A2-BBFF5C41ACDD}"/>
          </ac:spMkLst>
        </pc:spChg>
        <pc:spChg chg="add mod">
          <ac:chgData name="Jacob, Karen (SPAC/PSPC) (elle-la / she-her)" userId="66e9cce0-e37b-4645-a907-f7690bd68dfb" providerId="ADAL" clId="{871AC57A-6E3B-4D85-BA02-8D6F5065EA89}" dt="2024-07-09T17:22:47.105" v="7132" actId="1076"/>
          <ac:spMkLst>
            <pc:docMk/>
            <pc:sldMk cId="3865673805" sldId="5018"/>
            <ac:spMk id="51" creationId="{F808FB0B-95FB-588D-74D4-560CE24F641C}"/>
          </ac:spMkLst>
        </pc:spChg>
        <pc:spChg chg="add mod">
          <ac:chgData name="Jacob, Karen (SPAC/PSPC) (elle-la / she-her)" userId="66e9cce0-e37b-4645-a907-f7690bd68dfb" providerId="ADAL" clId="{871AC57A-6E3B-4D85-BA02-8D6F5065EA89}" dt="2024-07-09T17:22:43.705" v="7131" actId="1076"/>
          <ac:spMkLst>
            <pc:docMk/>
            <pc:sldMk cId="3865673805" sldId="5018"/>
            <ac:spMk id="52" creationId="{FB1CCAB6-4244-F5C1-D619-C44E7D9FA0E1}"/>
          </ac:spMkLst>
        </pc:spChg>
        <pc:spChg chg="add mod">
          <ac:chgData name="Jacob, Karen (SPAC/PSPC) (elle-la / she-her)" userId="66e9cce0-e37b-4645-a907-f7690bd68dfb" providerId="ADAL" clId="{871AC57A-6E3B-4D85-BA02-8D6F5065EA89}" dt="2024-07-09T17:22:37.063" v="7130" actId="1076"/>
          <ac:spMkLst>
            <pc:docMk/>
            <pc:sldMk cId="3865673805" sldId="5018"/>
            <ac:spMk id="53" creationId="{77D85CA5-B859-31BE-A852-18BCBED95D02}"/>
          </ac:spMkLst>
        </pc:spChg>
        <pc:spChg chg="add mod">
          <ac:chgData name="Jacob, Karen (SPAC/PSPC) (elle-la / she-her)" userId="66e9cce0-e37b-4645-a907-f7690bd68dfb" providerId="ADAL" clId="{871AC57A-6E3B-4D85-BA02-8D6F5065EA89}" dt="2024-07-09T17:22:31.104" v="7129" actId="1076"/>
          <ac:spMkLst>
            <pc:docMk/>
            <pc:sldMk cId="3865673805" sldId="5018"/>
            <ac:spMk id="54" creationId="{D1AF6197-0772-06C0-D39E-B685CA3A6EAD}"/>
          </ac:spMkLst>
        </pc:spChg>
        <pc:spChg chg="add mod">
          <ac:chgData name="Jacob, Karen (SPAC/PSPC) (elle-la / she-her)" userId="66e9cce0-e37b-4645-a907-f7690bd68dfb" providerId="ADAL" clId="{871AC57A-6E3B-4D85-BA02-8D6F5065EA89}" dt="2024-07-09T18:29:51.805" v="7187" actId="13926"/>
          <ac:spMkLst>
            <pc:docMk/>
            <pc:sldMk cId="3865673805" sldId="5018"/>
            <ac:spMk id="55" creationId="{7A1A59FF-8821-4234-BA1F-86BE5197E628}"/>
          </ac:spMkLst>
        </pc:spChg>
        <pc:spChg chg="add mod">
          <ac:chgData name="Jacob, Karen (SPAC/PSPC) (elle-la / she-her)" userId="66e9cce0-e37b-4645-a907-f7690bd68dfb" providerId="ADAL" clId="{871AC57A-6E3B-4D85-BA02-8D6F5065EA89}" dt="2024-07-09T13:52:01.294" v="6655" actId="1076"/>
          <ac:spMkLst>
            <pc:docMk/>
            <pc:sldMk cId="3865673805" sldId="5018"/>
            <ac:spMk id="56" creationId="{ACA4AAD1-FCBE-4C24-0B3D-DE15D577F00F}"/>
          </ac:spMkLst>
        </pc:spChg>
        <pc:spChg chg="add mod">
          <ac:chgData name="Jacob, Karen (SPAC/PSPC) (elle-la / she-her)" userId="66e9cce0-e37b-4645-a907-f7690bd68dfb" providerId="ADAL" clId="{871AC57A-6E3B-4D85-BA02-8D6F5065EA89}" dt="2024-07-09T18:30:11.750" v="7189" actId="20577"/>
          <ac:spMkLst>
            <pc:docMk/>
            <pc:sldMk cId="3865673805" sldId="5018"/>
            <ac:spMk id="57" creationId="{80C64189-743E-1D6F-BC38-898A98A32465}"/>
          </ac:spMkLst>
        </pc:spChg>
        <pc:spChg chg="add mod">
          <ac:chgData name="Jacob, Karen (SPAC/PSPC) (elle-la / she-her)" userId="66e9cce0-e37b-4645-a907-f7690bd68dfb" providerId="ADAL" clId="{871AC57A-6E3B-4D85-BA02-8D6F5065EA89}" dt="2024-07-09T13:52:11.269" v="6657" actId="1076"/>
          <ac:spMkLst>
            <pc:docMk/>
            <pc:sldMk cId="3865673805" sldId="5018"/>
            <ac:spMk id="58" creationId="{62D48345-9A67-33B9-271D-D2722B58526B}"/>
          </ac:spMkLst>
        </pc:spChg>
        <pc:spChg chg="add mod">
          <ac:chgData name="Jacob, Karen (SPAC/PSPC) (elle-la / she-her)" userId="66e9cce0-e37b-4645-a907-f7690bd68dfb" providerId="ADAL" clId="{871AC57A-6E3B-4D85-BA02-8D6F5065EA89}" dt="2024-07-09T17:22:00.164" v="7118" actId="1037"/>
          <ac:spMkLst>
            <pc:docMk/>
            <pc:sldMk cId="3865673805" sldId="5018"/>
            <ac:spMk id="59" creationId="{9EEF3366-3763-B493-96F0-E3984E5F4223}"/>
          </ac:spMkLst>
        </pc:spChg>
        <pc:graphicFrameChg chg="add del mod modGraphic">
          <ac:chgData name="Jacob, Karen (SPAC/PSPC) (elle-la / she-her)" userId="66e9cce0-e37b-4645-a907-f7690bd68dfb" providerId="ADAL" clId="{871AC57A-6E3B-4D85-BA02-8D6F5065EA89}" dt="2024-06-21T15:31:33.342" v="4830" actId="478"/>
          <ac:graphicFrameMkLst>
            <pc:docMk/>
            <pc:sldMk cId="3865673805" sldId="5018"/>
            <ac:graphicFrameMk id="5" creationId="{34189831-7EFC-276C-7FD6-74C024D9DF33}"/>
          </ac:graphicFrameMkLst>
        </pc:graphicFrameChg>
        <pc:cxnChg chg="add mod ord">
          <ac:chgData name="Jacob, Karen (SPAC/PSPC) (elle-la / she-her)" userId="66e9cce0-e37b-4645-a907-f7690bd68dfb" providerId="ADAL" clId="{871AC57A-6E3B-4D85-BA02-8D6F5065EA89}" dt="2024-07-08T21:14:15.120" v="6284" actId="1038"/>
          <ac:cxnSpMkLst>
            <pc:docMk/>
            <pc:sldMk cId="3865673805" sldId="5018"/>
            <ac:cxnSpMk id="2" creationId="{C96F2F8A-400E-A20B-385F-5F541FA16016}"/>
          </ac:cxnSpMkLst>
        </pc:cxnChg>
        <pc:cxnChg chg="add mod ord">
          <ac:chgData name="Jacob, Karen (SPAC/PSPC) (elle-la / she-her)" userId="66e9cce0-e37b-4645-a907-f7690bd68dfb" providerId="ADAL" clId="{871AC57A-6E3B-4D85-BA02-8D6F5065EA89}" dt="2024-07-08T21:14:26.004" v="6286" actId="14100"/>
          <ac:cxnSpMkLst>
            <pc:docMk/>
            <pc:sldMk cId="3865673805" sldId="5018"/>
            <ac:cxnSpMk id="7" creationId="{2BE5BEB0-7BD4-29A1-5362-0AE998BE7E93}"/>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3" creationId="{10E575E7-B168-6981-57EE-8C43273FD31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5" creationId="{7983B277-C430-B365-49FF-CBA08A0541FA}"/>
          </ac:cxnSpMkLst>
        </pc:cxnChg>
        <pc:cxnChg chg="add mod ord">
          <ac:chgData name="Jacob, Karen (SPAC/PSPC) (elle-la / she-her)" userId="66e9cce0-e37b-4645-a907-f7690bd68dfb" providerId="ADAL" clId="{871AC57A-6E3B-4D85-BA02-8D6F5065EA89}" dt="2024-07-08T21:14:15.120" v="6284" actId="1038"/>
          <ac:cxnSpMkLst>
            <pc:docMk/>
            <pc:sldMk cId="3865673805" sldId="5018"/>
            <ac:cxnSpMk id="18" creationId="{F6F2A91A-CE4A-5B32-5011-9E94214D716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24" creationId="{4318A952-A3B7-1777-6453-931747D02D1E}"/>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0" creationId="{1915A0C8-9419-C7AD-D3E1-83CFAEC77A44}"/>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3" creationId="{D19EECE6-254E-49CD-0954-2FF1EB8394B8}"/>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9" creationId="{4BB8F730-2294-2BB6-31E9-6C5CD1F8760C}"/>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42" creationId="{13A6E390-93FA-DA58-F68C-B5F177D1BD2C}"/>
          </ac:cxnSpMkLst>
        </pc:cxnChg>
        <pc:cxnChg chg="add mod">
          <ac:chgData name="Jacob, Karen (SPAC/PSPC) (elle-la / she-her)" userId="66e9cce0-e37b-4645-a907-f7690bd68dfb" providerId="ADAL" clId="{871AC57A-6E3B-4D85-BA02-8D6F5065EA89}" dt="2024-07-08T21:14:21.279" v="6285" actId="14100"/>
          <ac:cxnSpMkLst>
            <pc:docMk/>
            <pc:sldMk cId="3865673805" sldId="5018"/>
            <ac:cxnSpMk id="43" creationId="{7B3B1AD4-3FA7-7099-D700-61286027097C}"/>
          </ac:cxnSpMkLst>
        </pc:cxnChg>
        <pc:cxnChg chg="add del mod">
          <ac:chgData name="Jacob, Karen (SPAC/PSPC) (elle-la / she-her)" userId="66e9cce0-e37b-4645-a907-f7690bd68dfb" providerId="ADAL" clId="{871AC57A-6E3B-4D85-BA02-8D6F5065EA89}" dt="2024-07-09T17:20:56.980" v="7101" actId="11529"/>
          <ac:cxnSpMkLst>
            <pc:docMk/>
            <pc:sldMk cId="3865673805" sldId="5018"/>
            <ac:cxnSpMk id="61" creationId="{21598DBE-DB55-C9D4-E3B3-F2675A8A507F}"/>
          </ac:cxnSpMkLst>
        </pc:cxnChg>
        <pc:cxnChg chg="add mod">
          <ac:chgData name="Jacob, Karen (SPAC/PSPC) (elle-la / she-her)" userId="66e9cce0-e37b-4645-a907-f7690bd68dfb" providerId="ADAL" clId="{871AC57A-6E3B-4D85-BA02-8D6F5065EA89}" dt="2024-07-09T17:22:08.040" v="7120" actId="14100"/>
          <ac:cxnSpMkLst>
            <pc:docMk/>
            <pc:sldMk cId="3865673805" sldId="5018"/>
            <ac:cxnSpMk id="63" creationId="{B32AA51F-1724-BA56-E823-B032DD85AA41}"/>
          </ac:cxnSpMkLst>
        </pc:cxnChg>
      </pc:sldChg>
      <pc:sldChg chg="modSp new mod">
        <pc:chgData name="Jacob, Karen (SPAC/PSPC) (elle-la / she-her)" userId="66e9cce0-e37b-4645-a907-f7690bd68dfb" providerId="ADAL" clId="{871AC57A-6E3B-4D85-BA02-8D6F5065EA89}" dt="2024-06-21T15:18:15.641" v="4370" actId="20577"/>
        <pc:sldMkLst>
          <pc:docMk/>
          <pc:sldMk cId="4127869610" sldId="5019"/>
        </pc:sldMkLst>
        <pc:spChg chg="mod">
          <ac:chgData name="Jacob, Karen (SPAC/PSPC) (elle-la / she-her)" userId="66e9cce0-e37b-4645-a907-f7690bd68dfb" providerId="ADAL" clId="{871AC57A-6E3B-4D85-BA02-8D6F5065EA89}" dt="2024-06-21T14:47:28.555" v="3337" actId="20577"/>
          <ac:spMkLst>
            <pc:docMk/>
            <pc:sldMk cId="4127869610" sldId="5019"/>
            <ac:spMk id="2" creationId="{DDEB6BE0-BB00-FDB4-9881-EC44FA117B0C}"/>
          </ac:spMkLst>
        </pc:spChg>
        <pc:spChg chg="mod">
          <ac:chgData name="Jacob, Karen (SPAC/PSPC) (elle-la / she-her)" userId="66e9cce0-e37b-4645-a907-f7690bd68dfb" providerId="ADAL" clId="{871AC57A-6E3B-4D85-BA02-8D6F5065EA89}" dt="2024-06-21T15:18:15.641" v="4370" actId="20577"/>
          <ac:spMkLst>
            <pc:docMk/>
            <pc:sldMk cId="4127869610" sldId="5019"/>
            <ac:spMk id="4" creationId="{758B8BAE-A0B0-CD00-6894-D89E72C685C9}"/>
          </ac:spMkLst>
        </pc:spChg>
      </pc:sldChg>
      <pc:sldChg chg="add mod modShow">
        <pc:chgData name="Jacob, Karen (SPAC/PSPC) (elle-la / she-her)" userId="66e9cce0-e37b-4645-a907-f7690bd68dfb" providerId="ADAL" clId="{871AC57A-6E3B-4D85-BA02-8D6F5065EA89}" dt="2024-06-21T15:14:37.008" v="4234" actId="729"/>
        <pc:sldMkLst>
          <pc:docMk/>
          <pc:sldMk cId="1994238897" sldId="5020"/>
        </pc:sldMkLst>
      </pc:sldChg>
      <pc:sldChg chg="add del">
        <pc:chgData name="Jacob, Karen (SPAC/PSPC) (elle-la / she-her)" userId="66e9cce0-e37b-4645-a907-f7690bd68dfb" providerId="ADAL" clId="{871AC57A-6E3B-4D85-BA02-8D6F5065EA89}" dt="2024-06-21T15:10:01.329" v="4070"/>
        <pc:sldMkLst>
          <pc:docMk/>
          <pc:sldMk cId="1305863165" sldId="5021"/>
        </pc:sldMkLst>
      </pc:sldChg>
      <pc:sldChg chg="new del">
        <pc:chgData name="Jacob, Karen (SPAC/PSPC) (elle-la / she-her)" userId="66e9cce0-e37b-4645-a907-f7690bd68dfb" providerId="ADAL" clId="{871AC57A-6E3B-4D85-BA02-8D6F5065EA89}" dt="2024-06-21T15:19:18.913" v="4376" actId="47"/>
        <pc:sldMkLst>
          <pc:docMk/>
          <pc:sldMk cId="1841768326" sldId="5021"/>
        </pc:sldMkLst>
      </pc:sldChg>
      <pc:sldChg chg="modSp new mod">
        <pc:chgData name="Jacob, Karen (SPAC/PSPC) (elle-la / she-her)" userId="66e9cce0-e37b-4645-a907-f7690bd68dfb" providerId="ADAL" clId="{871AC57A-6E3B-4D85-BA02-8D6F5065EA89}" dt="2024-06-21T15:27:09.381" v="4708" actId="20577"/>
        <pc:sldMkLst>
          <pc:docMk/>
          <pc:sldMk cId="3253347275" sldId="5021"/>
        </pc:sldMkLst>
        <pc:spChg chg="mod">
          <ac:chgData name="Jacob, Karen (SPAC/PSPC) (elle-la / she-her)" userId="66e9cce0-e37b-4645-a907-f7690bd68dfb" providerId="ADAL" clId="{871AC57A-6E3B-4D85-BA02-8D6F5065EA89}" dt="2024-06-21T15:27:09.381" v="4708" actId="20577"/>
          <ac:spMkLst>
            <pc:docMk/>
            <pc:sldMk cId="3253347275" sldId="5021"/>
            <ac:spMk id="2" creationId="{ECE54B41-AB8B-A396-0E3C-85310818D719}"/>
          </ac:spMkLst>
        </pc:spChg>
        <pc:spChg chg="mod">
          <ac:chgData name="Jacob, Karen (SPAC/PSPC) (elle-la / she-her)" userId="66e9cce0-e37b-4645-a907-f7690bd68dfb" providerId="ADAL" clId="{871AC57A-6E3B-4D85-BA02-8D6F5065EA89}" dt="2024-06-21T15:23:10.502" v="4468" actId="2710"/>
          <ac:spMkLst>
            <pc:docMk/>
            <pc:sldMk cId="3253347275" sldId="5021"/>
            <ac:spMk id="4" creationId="{0CE857C5-5305-BDE2-C963-749573E23040}"/>
          </ac:spMkLst>
        </pc:spChg>
      </pc:sldChg>
      <pc:sldChg chg="add del">
        <pc:chgData name="Jacob, Karen (SPAC/PSPC) (elle-la / she-her)" userId="66e9cce0-e37b-4645-a907-f7690bd68dfb" providerId="ADAL" clId="{871AC57A-6E3B-4D85-BA02-8D6F5065EA89}" dt="2024-06-21T15:10:12.424" v="4073"/>
        <pc:sldMkLst>
          <pc:docMk/>
          <pc:sldMk cId="4238139827" sldId="5021"/>
        </pc:sldMkLst>
      </pc:sldChg>
    </pc:docChg>
  </pc:docChgLst>
  <pc:docChgLst>
    <pc:chgData name="Yassa, Marie-Catherine (SPAC/PSPC)" userId="S::marie-catherine.yassa@tpsgc-pwgsc.gc.ca::267c140e-fceb-445b-84ed-5b781d522844" providerId="AD" clId="Web-{50A577EB-72A1-10A7-CD5C-9633A34A1E57}"/>
    <pc:docChg chg="modSld">
      <pc:chgData name="Yassa, Marie-Catherine (SPAC/PSPC)" userId="S::marie-catherine.yassa@tpsgc-pwgsc.gc.ca::267c140e-fceb-445b-84ed-5b781d522844" providerId="AD" clId="Web-{50A577EB-72A1-10A7-CD5C-9633A34A1E57}" dt="2024-06-20T18:37:16.691" v="1" actId="14100"/>
      <pc:docMkLst>
        <pc:docMk/>
      </pc:docMkLst>
      <pc:sldChg chg="modSp">
        <pc:chgData name="Yassa, Marie-Catherine (SPAC/PSPC)" userId="S::marie-catherine.yassa@tpsgc-pwgsc.gc.ca::267c140e-fceb-445b-84ed-5b781d522844" providerId="AD" clId="Web-{50A577EB-72A1-10A7-CD5C-9633A34A1E57}" dt="2024-06-20T18:35:24.845" v="0"/>
        <pc:sldMkLst>
          <pc:docMk/>
          <pc:sldMk cId="1717449089" sldId="5011"/>
        </pc:sldMkLst>
        <pc:spChg chg="mod">
          <ac:chgData name="Yassa, Marie-Catherine (SPAC/PSPC)" userId="S::marie-catherine.yassa@tpsgc-pwgsc.gc.ca::267c140e-fceb-445b-84ed-5b781d522844" providerId="AD" clId="Web-{50A577EB-72A1-10A7-CD5C-9633A34A1E57}" dt="2024-06-20T18:35:24.845" v="0"/>
          <ac:spMkLst>
            <pc:docMk/>
            <pc:sldMk cId="1717449089" sldId="5011"/>
            <ac:spMk id="3" creationId="{DE69AC7C-2B0D-CF31-48EE-53792B4D724E}"/>
          </ac:spMkLst>
        </pc:spChg>
      </pc:sldChg>
      <pc:sldChg chg="modSp">
        <pc:chgData name="Yassa, Marie-Catherine (SPAC/PSPC)" userId="S::marie-catherine.yassa@tpsgc-pwgsc.gc.ca::267c140e-fceb-445b-84ed-5b781d522844" providerId="AD" clId="Web-{50A577EB-72A1-10A7-CD5C-9633A34A1E57}" dt="2024-06-20T18:37:16.691" v="1" actId="14100"/>
        <pc:sldMkLst>
          <pc:docMk/>
          <pc:sldMk cId="1053501532" sldId="5012"/>
        </pc:sldMkLst>
        <pc:spChg chg="mod">
          <ac:chgData name="Yassa, Marie-Catherine (SPAC/PSPC)" userId="S::marie-catherine.yassa@tpsgc-pwgsc.gc.ca::267c140e-fceb-445b-84ed-5b781d522844" providerId="AD" clId="Web-{50A577EB-72A1-10A7-CD5C-9633A34A1E57}" dt="2024-06-20T18:37:16.691" v="1" actId="14100"/>
          <ac:spMkLst>
            <pc:docMk/>
            <pc:sldMk cId="1053501532" sldId="5012"/>
            <ac:spMk id="5" creationId="{EA7F99B2-4BB8-F561-E89D-85B8AF383FB1}"/>
          </ac:spMkLst>
        </pc:spChg>
      </pc:sldChg>
    </pc:docChg>
  </pc:docChgLst>
  <pc:docChgLst>
    <pc:chgData name="Elgee, Jeffrey (SPAC/PSPC)" userId="S::jeffrey.elgee@tpsgc-pwgsc.gc.ca::e10f0e9c-c03f-4fde-9113-11216b420c44" providerId="AD" clId="Web-{73F3E55C-C504-794F-9A03-CF4AD1E1811A}"/>
    <pc:docChg chg="addSld modSld">
      <pc:chgData name="Elgee, Jeffrey (SPAC/PSPC)" userId="S::jeffrey.elgee@tpsgc-pwgsc.gc.ca::e10f0e9c-c03f-4fde-9113-11216b420c44" providerId="AD" clId="Web-{73F3E55C-C504-794F-9A03-CF4AD1E1811A}" dt="2024-06-10T19:45:19.157" v="124" actId="20577"/>
      <pc:docMkLst>
        <pc:docMk/>
      </pc:docMkLst>
      <pc:sldChg chg="modSp">
        <pc:chgData name="Elgee, Jeffrey (SPAC/PSPC)" userId="S::jeffrey.elgee@tpsgc-pwgsc.gc.ca::e10f0e9c-c03f-4fde-9113-11216b420c44" providerId="AD" clId="Web-{73F3E55C-C504-794F-9A03-CF4AD1E1811A}" dt="2024-06-10T19:06:18.949" v="30" actId="20577"/>
        <pc:sldMkLst>
          <pc:docMk/>
          <pc:sldMk cId="3291831031" sldId="4970"/>
        </pc:sldMkLst>
        <pc:spChg chg="mod">
          <ac:chgData name="Elgee, Jeffrey (SPAC/PSPC)" userId="S::jeffrey.elgee@tpsgc-pwgsc.gc.ca::e10f0e9c-c03f-4fde-9113-11216b420c44" providerId="AD" clId="Web-{73F3E55C-C504-794F-9A03-CF4AD1E1811A}" dt="2024-06-10T19:06:18.949" v="30" actId="20577"/>
          <ac:spMkLst>
            <pc:docMk/>
            <pc:sldMk cId="3291831031" sldId="4970"/>
            <ac:spMk id="6" creationId="{1E046C2E-5794-1A98-BBEA-235FF863B218}"/>
          </ac:spMkLst>
        </pc:spChg>
      </pc:sldChg>
      <pc:sldChg chg="modSp">
        <pc:chgData name="Elgee, Jeffrey (SPAC/PSPC)" userId="S::jeffrey.elgee@tpsgc-pwgsc.gc.ca::e10f0e9c-c03f-4fde-9113-11216b420c44" providerId="AD" clId="Web-{73F3E55C-C504-794F-9A03-CF4AD1E1811A}" dt="2024-06-10T19:33:04.554" v="38" actId="20577"/>
        <pc:sldMkLst>
          <pc:docMk/>
          <pc:sldMk cId="388099589" sldId="4992"/>
        </pc:sldMkLst>
        <pc:spChg chg="mod">
          <ac:chgData name="Elgee, Jeffrey (SPAC/PSPC)" userId="S::jeffrey.elgee@tpsgc-pwgsc.gc.ca::e10f0e9c-c03f-4fde-9113-11216b420c44" providerId="AD" clId="Web-{73F3E55C-C504-794F-9A03-CF4AD1E1811A}" dt="2024-06-10T19:33:04.554" v="38" actId="20577"/>
          <ac:spMkLst>
            <pc:docMk/>
            <pc:sldMk cId="388099589" sldId="4992"/>
            <ac:spMk id="15" creationId="{2A224E51-C8E2-AF04-0A70-65F6548C9FA5}"/>
          </ac:spMkLst>
        </pc:spChg>
      </pc:sldChg>
      <pc:sldChg chg="addSp delSp modSp add replId">
        <pc:chgData name="Elgee, Jeffrey (SPAC/PSPC)" userId="S::jeffrey.elgee@tpsgc-pwgsc.gc.ca::e10f0e9c-c03f-4fde-9113-11216b420c44" providerId="AD" clId="Web-{73F3E55C-C504-794F-9A03-CF4AD1E1811A}" dt="2024-06-10T19:45:19.157" v="124" actId="20577"/>
        <pc:sldMkLst>
          <pc:docMk/>
          <pc:sldMk cId="1228329092" sldId="5013"/>
        </pc:sldMkLst>
        <pc:spChg chg="add mod">
          <ac:chgData name="Elgee, Jeffrey (SPAC/PSPC)" userId="S::jeffrey.elgee@tpsgc-pwgsc.gc.ca::e10f0e9c-c03f-4fde-9113-11216b420c44" providerId="AD" clId="Web-{73F3E55C-C504-794F-9A03-CF4AD1E1811A}" dt="2024-06-10T19:45:19.157" v="124" actId="20577"/>
          <ac:spMkLst>
            <pc:docMk/>
            <pc:sldMk cId="1228329092" sldId="5013"/>
            <ac:spMk id="2" creationId="{2BFF691A-0106-26B8-89C1-55A17307E3C2}"/>
          </ac:spMkLst>
        </pc:spChg>
        <pc:spChg chg="del mod">
          <ac:chgData name="Elgee, Jeffrey (SPAC/PSPC)" userId="S::jeffrey.elgee@tpsgc-pwgsc.gc.ca::e10f0e9c-c03f-4fde-9113-11216b420c44" providerId="AD" clId="Web-{73F3E55C-C504-794F-9A03-CF4AD1E1811A}" dt="2024-06-10T19:34:05.756" v="42"/>
          <ac:spMkLst>
            <pc:docMk/>
            <pc:sldMk cId="1228329092" sldId="5013"/>
            <ac:spMk id="15" creationId="{2A224E51-C8E2-AF04-0A70-65F6548C9FA5}"/>
          </ac:spMkLst>
        </pc:spChg>
        <pc:spChg chg="mod">
          <ac:chgData name="Elgee, Jeffrey (SPAC/PSPC)" userId="S::jeffrey.elgee@tpsgc-pwgsc.gc.ca::e10f0e9c-c03f-4fde-9113-11216b420c44" providerId="AD" clId="Web-{73F3E55C-C504-794F-9A03-CF4AD1E1811A}" dt="2024-06-10T19:34:11.256" v="47" actId="1076"/>
          <ac:spMkLst>
            <pc:docMk/>
            <pc:sldMk cId="1228329092" sldId="5013"/>
            <ac:spMk id="16" creationId="{DDBAA832-5D5B-F155-4F32-06C89A6062D9}"/>
          </ac:spMkLst>
        </pc:spChg>
        <pc:spChg chg="mod">
          <ac:chgData name="Elgee, Jeffrey (SPAC/PSPC)" userId="S::jeffrey.elgee@tpsgc-pwgsc.gc.ca::e10f0e9c-c03f-4fde-9113-11216b420c44" providerId="AD" clId="Web-{73F3E55C-C504-794F-9A03-CF4AD1E1811A}" dt="2024-06-10T19:34:11.256" v="48" actId="1076"/>
          <ac:spMkLst>
            <pc:docMk/>
            <pc:sldMk cId="1228329092" sldId="5013"/>
            <ac:spMk id="17" creationId="{03D46260-31B6-3CBA-D6E4-2A34CD363B83}"/>
          </ac:spMkLst>
        </pc:spChg>
        <pc:spChg chg="mod">
          <ac:chgData name="Elgee, Jeffrey (SPAC/PSPC)" userId="S::jeffrey.elgee@tpsgc-pwgsc.gc.ca::e10f0e9c-c03f-4fde-9113-11216b420c44" providerId="AD" clId="Web-{73F3E55C-C504-794F-9A03-CF4AD1E1811A}" dt="2024-06-10T19:34:11.272" v="49" actId="1076"/>
          <ac:spMkLst>
            <pc:docMk/>
            <pc:sldMk cId="1228329092" sldId="5013"/>
            <ac:spMk id="18" creationId="{4EF912C3-D6D2-8ADB-9455-F0BB3EFD9484}"/>
          </ac:spMkLst>
        </pc:spChg>
        <pc:spChg chg="mod">
          <ac:chgData name="Elgee, Jeffrey (SPAC/PSPC)" userId="S::jeffrey.elgee@tpsgc-pwgsc.gc.ca::e10f0e9c-c03f-4fde-9113-11216b420c44" providerId="AD" clId="Web-{73F3E55C-C504-794F-9A03-CF4AD1E1811A}" dt="2024-06-10T19:34:11.272" v="50" actId="1076"/>
          <ac:spMkLst>
            <pc:docMk/>
            <pc:sldMk cId="1228329092" sldId="5013"/>
            <ac:spMk id="19" creationId="{5DABBC32-D0F2-5FB4-F32B-6ACB5C70FCBB}"/>
          </ac:spMkLst>
        </pc:spChg>
        <pc:picChg chg="mod">
          <ac:chgData name="Elgee, Jeffrey (SPAC/PSPC)" userId="S::jeffrey.elgee@tpsgc-pwgsc.gc.ca::e10f0e9c-c03f-4fde-9113-11216b420c44" providerId="AD" clId="Web-{73F3E55C-C504-794F-9A03-CF4AD1E1811A}" dt="2024-06-10T19:34:11.225" v="43" actId="1076"/>
          <ac:picMkLst>
            <pc:docMk/>
            <pc:sldMk cId="1228329092" sldId="5013"/>
            <ac:picMk id="9" creationId="{CFECC87B-723E-8826-6C4D-682E01302215}"/>
          </ac:picMkLst>
        </pc:picChg>
        <pc:picChg chg="mod">
          <ac:chgData name="Elgee, Jeffrey (SPAC/PSPC)" userId="S::jeffrey.elgee@tpsgc-pwgsc.gc.ca::e10f0e9c-c03f-4fde-9113-11216b420c44" providerId="AD" clId="Web-{73F3E55C-C504-794F-9A03-CF4AD1E1811A}" dt="2024-06-10T19:34:11.241" v="44" actId="1076"/>
          <ac:picMkLst>
            <pc:docMk/>
            <pc:sldMk cId="1228329092" sldId="5013"/>
            <ac:picMk id="10" creationId="{EE1B7117-FE8F-8104-AF1D-A9871CD54FDE}"/>
          </ac:picMkLst>
        </pc:picChg>
        <pc:picChg chg="mod">
          <ac:chgData name="Elgee, Jeffrey (SPAC/PSPC)" userId="S::jeffrey.elgee@tpsgc-pwgsc.gc.ca::e10f0e9c-c03f-4fde-9113-11216b420c44" providerId="AD" clId="Web-{73F3E55C-C504-794F-9A03-CF4AD1E1811A}" dt="2024-06-10T19:34:11.241" v="45" actId="1076"/>
          <ac:picMkLst>
            <pc:docMk/>
            <pc:sldMk cId="1228329092" sldId="5013"/>
            <ac:picMk id="11" creationId="{0A95C047-D6CC-A24A-9FFE-34EA9062B06B}"/>
          </ac:picMkLst>
        </pc:picChg>
        <pc:picChg chg="mod">
          <ac:chgData name="Elgee, Jeffrey (SPAC/PSPC)" userId="S::jeffrey.elgee@tpsgc-pwgsc.gc.ca::e10f0e9c-c03f-4fde-9113-11216b420c44" providerId="AD" clId="Web-{73F3E55C-C504-794F-9A03-CF4AD1E1811A}" dt="2024-06-10T19:34:11.256" v="46" actId="1076"/>
          <ac:picMkLst>
            <pc:docMk/>
            <pc:sldMk cId="1228329092" sldId="5013"/>
            <ac:picMk id="13" creationId="{1BFE9BF1-5E6A-A995-0D24-DB7A9C3633D8}"/>
          </ac:picMkLst>
        </pc:picChg>
      </pc:sldChg>
    </pc:docChg>
  </pc:docChgLst>
  <pc:docChgLst>
    <pc:chgData name="Elgee, Jeffrey (SPAC/PSPC)" userId="S::jeffrey.elgee@tpsgc-pwgsc.gc.ca::e10f0e9c-c03f-4fde-9113-11216b420c44" providerId="AD" clId="Web-{3F61CFF4-68B2-77AD-BEE0-B6951A0738B3}"/>
    <pc:docChg chg="modSld">
      <pc:chgData name="Elgee, Jeffrey (SPAC/PSPC)" userId="S::jeffrey.elgee@tpsgc-pwgsc.gc.ca::e10f0e9c-c03f-4fde-9113-11216b420c44" providerId="AD" clId="Web-{3F61CFF4-68B2-77AD-BEE0-B6951A0738B3}" dt="2024-06-12T20:29:06.126" v="10" actId="20577"/>
      <pc:docMkLst>
        <pc:docMk/>
      </pc:docMkLst>
      <pc:sldChg chg="modSp modCm">
        <pc:chgData name="Elgee, Jeffrey (SPAC/PSPC)" userId="S::jeffrey.elgee@tpsgc-pwgsc.gc.ca::e10f0e9c-c03f-4fde-9113-11216b420c44" providerId="AD" clId="Web-{3F61CFF4-68B2-77AD-BEE0-B6951A0738B3}" dt="2024-06-12T20:29:06.126" v="10" actId="20577"/>
        <pc:sldMkLst>
          <pc:docMk/>
          <pc:sldMk cId="3633628159" sldId="4991"/>
        </pc:sldMkLst>
        <pc:spChg chg="mod">
          <ac:chgData name="Elgee, Jeffrey (SPAC/PSPC)" userId="S::jeffrey.elgee@tpsgc-pwgsc.gc.ca::e10f0e9c-c03f-4fde-9113-11216b420c44" providerId="AD" clId="Web-{3F61CFF4-68B2-77AD-BEE0-B6951A0738B3}" dt="2024-06-12T20:29:06.126" v="10" actId="20577"/>
          <ac:spMkLst>
            <pc:docMk/>
            <pc:sldMk cId="3633628159" sldId="4991"/>
            <ac:spMk id="3" creationId="{DCBEA1C2-5E98-4F88-5BBE-88BF7785297A}"/>
          </ac:spMkLst>
        </pc:spChg>
        <pc:extLst>
          <p:ext xmlns:p="http://schemas.openxmlformats.org/presentationml/2006/main" uri="{D6D511B9-2390-475A-947B-AFAB55BFBCF1}">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D2CE9BCC-9530-493F-BC3F-9D47F64F0084}"/>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826914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520096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3670353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quez pour modifier le style du titre principa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rcRect/>
          <a:stretch/>
        </p:blipFill>
        <p:spPr>
          <a:xfrm>
            <a:off x="552450" y="6402693"/>
            <a:ext cx="2036645" cy="194997"/>
          </a:xfrm>
          <a:prstGeom prst="rect">
            <a:avLst/>
          </a:prstGeom>
        </p:spPr>
      </p:pic>
      <p:pic>
        <p:nvPicPr>
          <p:cNvPr id="12" name="Picture 11"/>
          <p:cNvPicPr>
            <a:picLocks noChangeAspect="1"/>
          </p:cNvPicPr>
          <p:nvPr userDrawn="1"/>
        </p:nvPicPr>
        <p:blipFill>
          <a:blip r:embed="rId31">
            <a:extLst>
              <a:ext uri="{28A0092B-C50C-407E-A947-70E740481C1C}">
                <a14:useLocalDpi xmlns:a14="http://schemas.microsoft.com/office/drawing/2010/main" val="0"/>
              </a:ext>
            </a:extLst>
          </a:blip>
          <a:srcRect/>
          <a:stretch/>
        </p:blipFill>
        <p:spPr>
          <a:xfrm>
            <a:off x="10985653" y="182811"/>
            <a:ext cx="973127" cy="240202"/>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0" kern="1200">
          <a:solidFill>
            <a:schemeClr val="accent5"/>
          </a:solidFill>
          <a:latin typeface="Arial Rounded MT Bold" panose="020F070403050403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5.jpeg"/><Relationship Id="rId1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1.xml"/><Relationship Id="rId17" Type="http://schemas.openxmlformats.org/officeDocument/2006/relationships/oleObject" Target="../embeddings/oleObject7.bin"/><Relationship Id="rId2" Type="http://schemas.openxmlformats.org/officeDocument/2006/relationships/tags" Target="../tags/tag9.xml"/><Relationship Id="rId16" Type="http://schemas.openxmlformats.org/officeDocument/2006/relationships/image" Target="../media/image3.png"/><Relationship Id="rId20" Type="http://schemas.openxmlformats.org/officeDocument/2006/relationships/image" Target="../media/image7.pn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1.xml"/><Relationship Id="rId5" Type="http://schemas.openxmlformats.org/officeDocument/2006/relationships/tags" Target="../tags/tag12.xml"/><Relationship Id="rId15" Type="http://schemas.openxmlformats.org/officeDocument/2006/relationships/image" Target="../media/image2.png"/><Relationship Id="rId10" Type="http://schemas.openxmlformats.org/officeDocument/2006/relationships/tags" Target="../tags/tag17.xml"/><Relationship Id="rId19" Type="http://schemas.openxmlformats.org/officeDocument/2006/relationships/image" Target="../media/image6.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6.xm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tags" Target="../tags/tag109.xml"/><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notesSlide" Target="../notesSlides/notesSlide5.xml"/><Relationship Id="rId10" Type="http://schemas.openxmlformats.org/officeDocument/2006/relationships/image" Target="../media/image20.png"/><Relationship Id="rId4" Type="http://schemas.openxmlformats.org/officeDocument/2006/relationships/slideLayout" Target="../slideLayouts/slideLayout22.xml"/><Relationship Id="rId9" Type="http://schemas.openxmlformats.org/officeDocument/2006/relationships/image" Target="../media/image19.svg"/></Relationships>
</file>

<file path=ppt/slides/_rels/slide12.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24.jpeg"/><Relationship Id="rId5" Type="http://schemas.openxmlformats.org/officeDocument/2006/relationships/notesSlide" Target="../notesSlides/notesSlide6.xml"/><Relationship Id="rId4"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26.sv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25.png"/><Relationship Id="rId5" Type="http://schemas.openxmlformats.org/officeDocument/2006/relationships/notesSlide" Target="../notesSlides/notesSlide7.xml"/><Relationship Id="rId4"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27.jpe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notesSlide" Target="../notesSlides/notesSlide8.xml"/><Relationship Id="rId5" Type="http://schemas.openxmlformats.org/officeDocument/2006/relationships/slideLayout" Target="../slideLayouts/slideLayout22.xml"/><Relationship Id="rId4" Type="http://schemas.openxmlformats.org/officeDocument/2006/relationships/tags" Target="../tags/tag11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1.xml"/><Relationship Id="rId1" Type="http://schemas.openxmlformats.org/officeDocument/2006/relationships/tags" Target="../tags/tag120.xml"/></Relationships>
</file>

<file path=ppt/slides/_rels/slide16.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notesSlide" Target="../notesSlides/notesSlide9.xml"/><Relationship Id="rId18" Type="http://schemas.openxmlformats.org/officeDocument/2006/relationships/image" Target="../media/image32.png"/><Relationship Id="rId3" Type="http://schemas.openxmlformats.org/officeDocument/2006/relationships/tags" Target="../tags/tag124.xml"/><Relationship Id="rId21" Type="http://schemas.openxmlformats.org/officeDocument/2006/relationships/image" Target="../media/image35.svg"/><Relationship Id="rId7" Type="http://schemas.openxmlformats.org/officeDocument/2006/relationships/tags" Target="../tags/tag128.xml"/><Relationship Id="rId12" Type="http://schemas.openxmlformats.org/officeDocument/2006/relationships/slideLayout" Target="../slideLayouts/slideLayout14.xml"/><Relationship Id="rId17" Type="http://schemas.openxmlformats.org/officeDocument/2006/relationships/image" Target="../media/image31.svg"/><Relationship Id="rId2" Type="http://schemas.openxmlformats.org/officeDocument/2006/relationships/tags" Target="../tags/tag123.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image" Target="../media/image29.svg"/><Relationship Id="rId10" Type="http://schemas.openxmlformats.org/officeDocument/2006/relationships/tags" Target="../tags/tag131.xml"/><Relationship Id="rId19" Type="http://schemas.openxmlformats.org/officeDocument/2006/relationships/image" Target="../media/image33.svg"/><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image" Target="../media/image23.svg"/><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image" Target="../media/image22.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slideLayout" Target="../slideLayouts/slideLayout22.xml"/><Relationship Id="rId5" Type="http://schemas.openxmlformats.org/officeDocument/2006/relationships/tags" Target="../tags/tag137.xml"/><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45.xml"/><Relationship Id="rId7" Type="http://schemas.openxmlformats.org/officeDocument/2006/relationships/slideLayout" Target="../slideLayouts/slideLayout14.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 Id="rId9" Type="http://schemas.openxmlformats.org/officeDocument/2006/relationships/image" Target="../media/image23.svg"/></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51.xml"/><Relationship Id="rId7" Type="http://schemas.openxmlformats.org/officeDocument/2006/relationships/slideLayout" Target="../slideLayouts/slideLayout14.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3.svg"/></Relationships>
</file>

<file path=ppt/slides/_rels/slide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hyperlink" Target="https://wiki.gccollab.ca/images/9/90/CM_Program_Optimization-Leadership-Presentation_EN.pptx" TargetMode="Externa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57.xml"/><Relationship Id="rId7" Type="http://schemas.openxmlformats.org/officeDocument/2006/relationships/slideLayout" Target="../slideLayouts/slideLayout14.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 Id="rId9" Type="http://schemas.openxmlformats.org/officeDocument/2006/relationships/image" Target="../media/image23.svg"/></Relationships>
</file>

<file path=ppt/slides/_rels/slide2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63.xml"/><Relationship Id="rId7" Type="http://schemas.openxmlformats.org/officeDocument/2006/relationships/slideLayout" Target="../slideLayouts/slideLayout14.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5" Type="http://schemas.openxmlformats.org/officeDocument/2006/relationships/tags" Target="../tags/tag165.xml"/><Relationship Id="rId4" Type="http://schemas.openxmlformats.org/officeDocument/2006/relationships/tags" Target="../tags/tag164.xml"/><Relationship Id="rId9" Type="http://schemas.openxmlformats.org/officeDocument/2006/relationships/image" Target="../media/image23.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tags" Target="../tags/tag2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hyperlink" Target="https://www.canada.ca/en/government/publicservice/modernizing/hybrid-work/common-hybrid-work-model.html" TargetMode="External"/></Relationships>
</file>

<file path=ppt/slides/_rels/slide6.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slideLayout" Target="../slideLayouts/slideLayout6.xml"/><Relationship Id="rId4" Type="http://schemas.openxmlformats.org/officeDocument/2006/relationships/tags" Target="../tags/tag2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image" Target="../media/image12.png"/><Relationship Id="rId3" Type="http://schemas.openxmlformats.org/officeDocument/2006/relationships/tags" Target="../tags/tag34.xml"/><Relationship Id="rId21" Type="http://schemas.openxmlformats.org/officeDocument/2006/relationships/slideLayout" Target="../slideLayouts/slideLayout6.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image" Target="../media/image11.png"/><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29" Type="http://schemas.openxmlformats.org/officeDocument/2006/relationships/image" Target="../media/image15.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0.png"/><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image" Target="../media/image9.png"/><Relationship Id="rId28" Type="http://schemas.openxmlformats.org/officeDocument/2006/relationships/image" Target="../media/image14.png"/><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notesSlide" Target="../notesSlides/notesSlide3.xml"/><Relationship Id="rId27" Type="http://schemas.openxmlformats.org/officeDocument/2006/relationships/image" Target="../media/image13.png"/></Relationships>
</file>

<file path=ppt/slides/_rels/slide9.xml.rels><?xml version="1.0" encoding="UTF-8" standalone="yes"?>
<Relationships xmlns="http://schemas.openxmlformats.org/package/2006/relationships"><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tags" Target="../tags/tag77.xml"/><Relationship Id="rId39" Type="http://schemas.openxmlformats.org/officeDocument/2006/relationships/tags" Target="../tags/tag90.xml"/><Relationship Id="rId21" Type="http://schemas.openxmlformats.org/officeDocument/2006/relationships/tags" Target="../tags/tag72.xml"/><Relationship Id="rId34" Type="http://schemas.openxmlformats.org/officeDocument/2006/relationships/tags" Target="../tags/tag85.xml"/><Relationship Id="rId42" Type="http://schemas.openxmlformats.org/officeDocument/2006/relationships/tags" Target="../tags/tag93.xml"/><Relationship Id="rId47" Type="http://schemas.openxmlformats.org/officeDocument/2006/relationships/tags" Target="../tags/tag98.xml"/><Relationship Id="rId50" Type="http://schemas.openxmlformats.org/officeDocument/2006/relationships/tags" Target="../tags/tag101.xml"/><Relationship Id="rId55" Type="http://schemas.openxmlformats.org/officeDocument/2006/relationships/slideLayout" Target="../slideLayouts/slideLayout6.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tags" Target="../tags/tag76.xml"/><Relationship Id="rId33" Type="http://schemas.openxmlformats.org/officeDocument/2006/relationships/tags" Target="../tags/tag84.xml"/><Relationship Id="rId38" Type="http://schemas.openxmlformats.org/officeDocument/2006/relationships/tags" Target="../tags/tag89.xml"/><Relationship Id="rId46" Type="http://schemas.openxmlformats.org/officeDocument/2006/relationships/tags" Target="../tags/tag97.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tags" Target="../tags/tag80.xml"/><Relationship Id="rId41" Type="http://schemas.openxmlformats.org/officeDocument/2006/relationships/tags" Target="../tags/tag92.xml"/><Relationship Id="rId54" Type="http://schemas.openxmlformats.org/officeDocument/2006/relationships/tags" Target="../tags/tag105.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tags" Target="../tags/tag75.xml"/><Relationship Id="rId32" Type="http://schemas.openxmlformats.org/officeDocument/2006/relationships/tags" Target="../tags/tag83.xml"/><Relationship Id="rId37" Type="http://schemas.openxmlformats.org/officeDocument/2006/relationships/tags" Target="../tags/tag88.xml"/><Relationship Id="rId40" Type="http://schemas.openxmlformats.org/officeDocument/2006/relationships/tags" Target="../tags/tag91.xml"/><Relationship Id="rId45" Type="http://schemas.openxmlformats.org/officeDocument/2006/relationships/tags" Target="../tags/tag96.xml"/><Relationship Id="rId53" Type="http://schemas.openxmlformats.org/officeDocument/2006/relationships/tags" Target="../tags/tag104.xml"/><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tags" Target="../tags/tag79.xml"/><Relationship Id="rId36" Type="http://schemas.openxmlformats.org/officeDocument/2006/relationships/tags" Target="../tags/tag87.xml"/><Relationship Id="rId49" Type="http://schemas.openxmlformats.org/officeDocument/2006/relationships/tags" Target="../tags/tag100.xml"/><Relationship Id="rId10" Type="http://schemas.openxmlformats.org/officeDocument/2006/relationships/tags" Target="../tags/tag61.xml"/><Relationship Id="rId19" Type="http://schemas.openxmlformats.org/officeDocument/2006/relationships/tags" Target="../tags/tag70.xml"/><Relationship Id="rId31" Type="http://schemas.openxmlformats.org/officeDocument/2006/relationships/tags" Target="../tags/tag82.xml"/><Relationship Id="rId44" Type="http://schemas.openxmlformats.org/officeDocument/2006/relationships/tags" Target="../tags/tag95.xml"/><Relationship Id="rId52" Type="http://schemas.openxmlformats.org/officeDocument/2006/relationships/tags" Target="../tags/tag103.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tags" Target="../tags/tag78.xml"/><Relationship Id="rId30" Type="http://schemas.openxmlformats.org/officeDocument/2006/relationships/tags" Target="../tags/tag81.xml"/><Relationship Id="rId35" Type="http://schemas.openxmlformats.org/officeDocument/2006/relationships/tags" Target="../tags/tag86.xml"/><Relationship Id="rId43" Type="http://schemas.openxmlformats.org/officeDocument/2006/relationships/tags" Target="../tags/tag94.xml"/><Relationship Id="rId48" Type="http://schemas.openxmlformats.org/officeDocument/2006/relationships/tags" Target="../tags/tag99.xml"/><Relationship Id="rId56" Type="http://schemas.openxmlformats.org/officeDocument/2006/relationships/notesSlide" Target="../notesSlides/notesSlide4.xml"/><Relationship Id="rId8" Type="http://schemas.openxmlformats.org/officeDocument/2006/relationships/tags" Target="../tags/tag59.xml"/><Relationship Id="rId51" Type="http://schemas.openxmlformats.org/officeDocument/2006/relationships/tags" Target="../tags/tag102.xml"/><Relationship Id="rId3"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3">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sp>
        <p:nvSpPr>
          <p:cNvPr id="8" name="Rectangle 7">
            <a:extLst>
              <a:ext uri="{C183D7F6-B498-43B3-948B-1728B52AA6E4}">
                <adec:decorative xmlns:adec="http://schemas.microsoft.com/office/drawing/2017/decorative" val="1"/>
              </a:ext>
            </a:extLst>
          </p:cNvPr>
          <p:cNvSpPr/>
          <p:nvPr>
            <p:custDataLst>
              <p:tags r:id="rId2"/>
            </p:custDataLst>
          </p:nvPr>
        </p:nvSpPr>
        <p:spPr>
          <a:xfrm>
            <a:off x="21828" y="11899"/>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sp>
        <p:nvSpPr>
          <p:cNvPr id="2" name="Title 1"/>
          <p:cNvSpPr>
            <a:spLocks noGrp="1"/>
          </p:cNvSpPr>
          <p:nvPr>
            <p:ph type="ctrTitle"/>
            <p:custDataLst>
              <p:tags r:id="rId3"/>
            </p:custDataLst>
          </p:nvPr>
        </p:nvSpPr>
        <p:spPr>
          <a:xfrm>
            <a:off x="511883" y="2087217"/>
            <a:ext cx="4704551" cy="1587701"/>
          </a:xfrm>
        </p:spPr>
        <p:txBody>
          <a:bodyPr>
            <a:noAutofit/>
          </a:bodyPr>
          <a:lstStyle/>
          <a:p>
            <a:r>
              <a:rPr lang="fr-CA" sz="3200" b="0" dirty="0">
                <a:solidFill>
                  <a:schemeClr val="bg1"/>
                </a:solidFill>
                <a:latin typeface="Arial Rounded MT Bold" panose="020F0704030504030204" pitchFamily="34" charset="0"/>
              </a:rPr>
              <a:t>Notre </a:t>
            </a:r>
            <a:r>
              <a:rPr lang="fr-CA" sz="3200" dirty="0">
                <a:solidFill>
                  <a:schemeClr val="bg1"/>
                </a:solidFill>
              </a:rPr>
              <a:t>projet d'optimisation du mi</a:t>
            </a:r>
            <a:r>
              <a:rPr lang="fr-CA" sz="3200" b="0" dirty="0">
                <a:solidFill>
                  <a:schemeClr val="bg1"/>
                </a:solidFill>
                <a:latin typeface="Arial Rounded MT Bold" panose="020F0704030504030204" pitchFamily="34" charset="0"/>
              </a:rPr>
              <a:t>lieu de travail</a:t>
            </a:r>
          </a:p>
        </p:txBody>
      </p:sp>
      <p:sp>
        <p:nvSpPr>
          <p:cNvPr id="3" name="Subtitle 2"/>
          <p:cNvSpPr>
            <a:spLocks noGrp="1"/>
          </p:cNvSpPr>
          <p:nvPr>
            <p:ph type="subTitle" idx="1"/>
            <p:custDataLst>
              <p:tags r:id="rId4"/>
            </p:custDataLst>
          </p:nvPr>
        </p:nvSpPr>
        <p:spPr>
          <a:xfrm>
            <a:off x="545307" y="3657327"/>
            <a:ext cx="3150393" cy="678352"/>
          </a:xfrm>
        </p:spPr>
        <p:txBody>
          <a:bodyPr>
            <a:normAutofit/>
          </a:bodyPr>
          <a:lstStyle/>
          <a:p>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Présenté par : Nom du parrain</a:t>
            </a:r>
          </a:p>
        </p:txBody>
      </p:sp>
      <p:sp>
        <p:nvSpPr>
          <p:cNvPr id="7" name="Text Placeholder 6"/>
          <p:cNvSpPr>
            <a:spLocks noGrp="1"/>
          </p:cNvSpPr>
          <p:nvPr>
            <p:ph type="body" sz="quarter" idx="13"/>
            <p:custDataLst>
              <p:tags r:id="rId5"/>
            </p:custDataLst>
          </p:nvPr>
        </p:nvSpPr>
        <p:spPr>
          <a:xfrm>
            <a:off x="545307" y="4188370"/>
            <a:ext cx="3494087" cy="526957"/>
          </a:xfrm>
        </p:spPr>
        <p:txBody>
          <a:bodyP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MOIS ANNÉE</a:t>
            </a:r>
          </a:p>
        </p:txBody>
      </p:sp>
      <p:sp>
        <p:nvSpPr>
          <p:cNvPr id="9" name="Rectangle 8">
            <a:extLst>
              <a:ext uri="{C183D7F6-B498-43B3-948B-1728B52AA6E4}">
                <adec:decorative xmlns:adec="http://schemas.microsoft.com/office/drawing/2017/decorative" val="1"/>
              </a:ext>
            </a:extLst>
          </p:cNvPr>
          <p:cNvSpPr/>
          <p:nvPr>
            <p:custDataLst>
              <p:tags r:id="rId6"/>
            </p:custDataLst>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pic>
        <p:nvPicPr>
          <p:cNvPr id="14" name="Picture 13">
            <a:hlinkClick r:id="rId1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7"/>
            </p:custDataLst>
          </p:nvPr>
        </p:nvPicPr>
        <p:blipFill>
          <a:blip r:embed="rId15"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8"/>
            </p:custDataLst>
          </p:nvPr>
        </p:nvPicPr>
        <p:blipFill>
          <a:blip r:embed="rId16" cstate="screen">
            <a:extLst>
              <a:ext uri="{28A0092B-C50C-407E-A947-70E740481C1C}">
                <a14:useLocalDpi xmlns:a14="http://schemas.microsoft.com/office/drawing/2010/main" val="0"/>
              </a:ext>
            </a:extLst>
          </a:blip>
          <a:srcRect/>
          <a:stretch/>
        </p:blipFill>
        <p:spPr>
          <a:xfrm>
            <a:off x="585681" y="6402831"/>
            <a:ext cx="2036645" cy="194997"/>
          </a:xfrm>
          <a:prstGeom prst="rect">
            <a:avLst/>
          </a:prstGeom>
        </p:spPr>
      </p:pic>
      <p:grpSp>
        <p:nvGrpSpPr>
          <p:cNvPr id="11" name="Group 10">
            <a:extLst>
              <a:ext uri="{FF2B5EF4-FFF2-40B4-BE49-F238E27FC236}">
                <a16:creationId xmlns:a16="http://schemas.microsoft.com/office/drawing/2014/main" id="{4BB54C6B-1537-5ED6-FAB3-0D29D2D064EA}"/>
              </a:ext>
              <a:ext uri="{C183D7F6-B498-43B3-948B-1728B52AA6E4}">
                <adec:decorative xmlns:adec="http://schemas.microsoft.com/office/drawing/2017/decorative" val="1"/>
              </a:ext>
            </a:extLst>
          </p:cNvPr>
          <p:cNvGrpSpPr/>
          <p:nvPr>
            <p:custDataLst>
              <p:tags r:id="rId9"/>
            </p:custDataLst>
          </p:nvPr>
        </p:nvGrpSpPr>
        <p:grpSpPr>
          <a:xfrm>
            <a:off x="7343" y="22005"/>
            <a:ext cx="2196206" cy="853438"/>
            <a:chOff x="1588" y="1588"/>
            <a:chExt cx="2196206" cy="853438"/>
          </a:xfrm>
        </p:grpSpPr>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0"/>
              </p:custDataLst>
              <p:extLst>
                <p:ext uri="{D42A27DB-BD31-4B8C-83A1-F6EECF244321}">
                  <p14:modId xmlns:p14="http://schemas.microsoft.com/office/powerpoint/2010/main" val="2203675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13" name="Picture 12">
              <a:extLst>
                <a:ext uri="{C183D7F6-B498-43B3-948B-1728B52AA6E4}">
                  <adec:decorative xmlns:adec="http://schemas.microsoft.com/office/drawing/2017/decorative" val="1"/>
                </a:ext>
              </a:extLst>
            </p:cNvPr>
            <p:cNvPicPr>
              <a:picLocks noChangeAspect="1"/>
            </p:cNvPicPr>
            <p:nvPr/>
          </p:nvPicPr>
          <p:blipFill rotWithShape="1">
            <a:blip r:embed="rId19" cstate="screen">
              <a:extLst>
                <a:ext uri="{28A0092B-C50C-407E-A947-70E740481C1C}">
                  <a14:useLocalDpi xmlns:a14="http://schemas.microsoft.com/office/drawing/2010/main" val="0"/>
                </a:ext>
              </a:extLst>
            </a:blip>
            <a:srcRect/>
            <a:stretch/>
          </p:blipFill>
          <p:spPr>
            <a:xfrm>
              <a:off x="982494" y="349374"/>
              <a:ext cx="1215300" cy="361446"/>
            </a:xfrm>
            <a:prstGeom prst="rect">
              <a:avLst/>
            </a:prstGeom>
          </p:spPr>
        </p:pic>
        <p:pic>
          <p:nvPicPr>
            <p:cNvPr id="10" name="Picture 9">
              <a:extLst>
                <a:ext uri="{FF2B5EF4-FFF2-40B4-BE49-F238E27FC236}">
                  <a16:creationId xmlns:a16="http://schemas.microsoft.com/office/drawing/2014/main" id="{5006D040-847C-E98D-2D45-EA89F75532AA}"/>
                </a:ext>
              </a:extLst>
            </p:cNvPr>
            <p:cNvPicPr>
              <a:picLocks noChangeAspect="1"/>
            </p:cNvPicPr>
            <p:nvPr/>
          </p:nvPicPr>
          <p:blipFill rotWithShape="1">
            <a:blip r:embed="rId20" cstate="screen">
              <a:extLst>
                <a:ext uri="{28A0092B-C50C-407E-A947-70E740481C1C}">
                  <a14:useLocalDpi xmlns:a14="http://schemas.microsoft.com/office/drawing/2010/main" val="0"/>
                </a:ext>
              </a:extLst>
            </a:blip>
            <a:srcRect/>
            <a:stretch/>
          </p:blipFill>
          <p:spPr>
            <a:xfrm>
              <a:off x="312652" y="195160"/>
              <a:ext cx="705964" cy="659866"/>
            </a:xfrm>
            <a:prstGeom prst="rect">
              <a:avLst/>
            </a:prstGeom>
          </p:spPr>
        </p:pic>
      </p:gr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EB6BE0-BB00-FDB4-9881-EC44FA117B0C}"/>
              </a:ext>
            </a:extLst>
          </p:cNvPr>
          <p:cNvSpPr>
            <a:spLocks noGrp="1"/>
          </p:cNvSpPr>
          <p:nvPr>
            <p:ph type="title"/>
            <p:custDataLst>
              <p:tags r:id="rId1"/>
            </p:custDataLst>
          </p:nvPr>
        </p:nvSpPr>
        <p:spPr>
          <a:xfrm>
            <a:off x="491008" y="2888674"/>
            <a:ext cx="11115674" cy="939581"/>
          </a:xfrm>
        </p:spPr>
        <p:txBody>
          <a:bodyPr>
            <a:normAutofit fontScale="90000"/>
          </a:bodyPr>
          <a:lstStyle/>
          <a:p>
            <a:r>
              <a:rPr lang="fr-CA" dirty="0"/>
              <a:t>Le rôle des leaders du point de vue de la gestion du changement</a:t>
            </a:r>
            <a:endParaRPr lang="en-CA" dirty="0"/>
          </a:p>
        </p:txBody>
      </p:sp>
    </p:spTree>
    <p:extLst>
      <p:ext uri="{BB962C8B-B14F-4D97-AF65-F5344CB8AC3E}">
        <p14:creationId xmlns:p14="http://schemas.microsoft.com/office/powerpoint/2010/main" val="4127869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custDataLst>
              <p:tags r:id="rId1"/>
            </p:custDataLst>
          </p:nvPr>
        </p:nvSpPr>
        <p:spPr/>
        <p:txBody>
          <a:bodyPr>
            <a:normAutofit/>
          </a:bodyPr>
          <a:lstStyle/>
          <a:p>
            <a:r>
              <a:rPr lang="fr-CA" sz="3200" dirty="0"/>
              <a:t>Mon rôle en tant que parrain du projet d'optimisation</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custDataLst>
              <p:tags r:id="rId2"/>
            </p:custDataLst>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Établir la gouvernance encadrant le projet et superviser l'équipe de proje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Superviser la stratégie de gestion du changemen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Montrer mon engagement dans ce projet et montrer l'exemple - Je libère le bureau qui m'a été attribué. </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Communiquer la vision, informer et fournir des mises à jour sur le proje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Veiller à ce que les cadres et les gestionnaires soient </a:t>
            </a:r>
            <a:r>
              <a:rPr lang="fr-CA" sz="7200" kern="100">
                <a:latin typeface="Calibri"/>
                <a:ea typeface="Calibri"/>
                <a:cs typeface="Calibri"/>
              </a:rPr>
              <a:t>bien outillés </a:t>
            </a:r>
            <a:r>
              <a:rPr lang="fr-CA" sz="7200" kern="100" dirty="0">
                <a:latin typeface="Calibri"/>
                <a:ea typeface="Calibri"/>
                <a:cs typeface="Calibri"/>
              </a:rPr>
              <a:t>pour soutenir les équipes.</a:t>
            </a:r>
          </a:p>
          <a:p>
            <a:endParaRPr lang="fr-CA" dirty="0">
              <a:latin typeface="Calibri"/>
              <a:cs typeface="Calibri"/>
            </a:endParaRPr>
          </a:p>
        </p:txBody>
      </p:sp>
      <p:grpSp>
        <p:nvGrpSpPr>
          <p:cNvPr id="18" name="Group 17">
            <a:extLst>
              <a:ext uri="{FF2B5EF4-FFF2-40B4-BE49-F238E27FC236}">
                <a16:creationId xmlns:a16="http://schemas.microsoft.com/office/drawing/2014/main" id="{5BB48D31-9A38-0DD7-71BA-6923707ED727}"/>
              </a:ext>
              <a:ext uri="{C183D7F6-B498-43B3-948B-1728B52AA6E4}">
                <adec:decorative xmlns:adec="http://schemas.microsoft.com/office/drawing/2017/decorative" val="1"/>
              </a:ext>
            </a:extLst>
          </p:cNvPr>
          <p:cNvGrpSpPr/>
          <p:nvPr>
            <p:custDataLst>
              <p:tags r:id="rId3"/>
            </p:custDataLst>
          </p:nvPr>
        </p:nvGrpSpPr>
        <p:grpSpPr>
          <a:xfrm>
            <a:off x="6676462" y="1470032"/>
            <a:ext cx="3843977" cy="4837107"/>
            <a:chOff x="6676462" y="1470032"/>
            <a:chExt cx="3843977" cy="4837107"/>
          </a:xfrm>
        </p:grpSpPr>
        <p:sp>
          <p:nvSpPr>
            <p:cNvPr id="2" name="Oval 1">
              <a:extLst>
                <a:ext uri="{FF2B5EF4-FFF2-40B4-BE49-F238E27FC236}">
                  <a16:creationId xmlns:a16="http://schemas.microsoft.com/office/drawing/2014/main" id="{C301AA33-6A30-AB3E-C776-0E493CEF5F2A}"/>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6" name="Ellipse 5">
              <a:extLst>
                <a:ext uri="{FF2B5EF4-FFF2-40B4-BE49-F238E27FC236}">
                  <a16:creationId xmlns:a16="http://schemas.microsoft.com/office/drawing/2014/main" id="{7D752629-BEEA-E8C2-10E0-EF6C6D24C9FA}"/>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 name="Ellipse 21">
              <a:extLst>
                <a:ext uri="{FF2B5EF4-FFF2-40B4-BE49-F238E27FC236}">
                  <a16:creationId xmlns:a16="http://schemas.microsoft.com/office/drawing/2014/main" id="{EE7E1DAB-29FF-5B67-85B4-4984C180F89E}"/>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nvGrpSpPr>
            <p:cNvPr id="8" name="Group 7">
              <a:extLst>
                <a:ext uri="{FF2B5EF4-FFF2-40B4-BE49-F238E27FC236}">
                  <a16:creationId xmlns:a16="http://schemas.microsoft.com/office/drawing/2014/main" id="{18E89C66-3090-DBBB-16D4-ADB8F41C9D33}"/>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9" name="Straight Connector 8">
                <a:extLst>
                  <a:ext uri="{FF2B5EF4-FFF2-40B4-BE49-F238E27FC236}">
                    <a16:creationId xmlns:a16="http://schemas.microsoft.com/office/drawing/2014/main" id="{B3582EEC-42E9-2DD7-F0A7-E5E9A53AB585}"/>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C7E441-722B-41C3-9466-2D6768876013}"/>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3E90E1B-5DB7-1531-4319-867D40AEC134}"/>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2" name="Graphic 11">
              <a:extLst>
                <a:ext uri="{FF2B5EF4-FFF2-40B4-BE49-F238E27FC236}">
                  <a16:creationId xmlns:a16="http://schemas.microsoft.com/office/drawing/2014/main" id="{0CA9E75F-2B00-6848-3047-49462E93A71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7956" y="1470032"/>
              <a:ext cx="1636758" cy="1636758"/>
            </a:xfrm>
            <a:prstGeom prst="rect">
              <a:avLst/>
            </a:prstGeom>
          </p:spPr>
        </p:pic>
        <p:pic>
          <p:nvPicPr>
            <p:cNvPr id="13" name="Graphic 12">
              <a:extLst>
                <a:ext uri="{FF2B5EF4-FFF2-40B4-BE49-F238E27FC236}">
                  <a16:creationId xmlns:a16="http://schemas.microsoft.com/office/drawing/2014/main" id="{3348626F-3DCC-5CC9-0E28-2AF5212FF8D5}"/>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12519" y="4838241"/>
              <a:ext cx="1468898" cy="1468898"/>
            </a:xfrm>
            <a:prstGeom prst="rect">
              <a:avLst/>
            </a:prstGeom>
          </p:spPr>
        </p:pic>
        <p:pic>
          <p:nvPicPr>
            <p:cNvPr id="14" name="Graphic 13">
              <a:extLst>
                <a:ext uri="{FF2B5EF4-FFF2-40B4-BE49-F238E27FC236}">
                  <a16:creationId xmlns:a16="http://schemas.microsoft.com/office/drawing/2014/main" id="{FE3E1CE8-93B7-01CC-15B5-1BBC903F2AB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48990" y="3229398"/>
              <a:ext cx="1171449" cy="1171449"/>
            </a:xfrm>
            <a:prstGeom prst="rect">
              <a:avLst/>
            </a:prstGeom>
          </p:spPr>
        </p:pic>
        <p:sp>
          <p:nvSpPr>
            <p:cNvPr id="15" name="Oval 14">
              <a:extLst>
                <a:ext uri="{FF2B5EF4-FFF2-40B4-BE49-F238E27FC236}">
                  <a16:creationId xmlns:a16="http://schemas.microsoft.com/office/drawing/2014/main" id="{EB612081-FCA4-47D6-A1C2-5B0B85CCB87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6" name="Graphic 15">
              <a:extLst>
                <a:ext uri="{FF2B5EF4-FFF2-40B4-BE49-F238E27FC236}">
                  <a16:creationId xmlns:a16="http://schemas.microsoft.com/office/drawing/2014/main" id="{8BF32A78-A86F-77B6-554F-4B4B34FF8320}"/>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custDataLst>
              <p:tags r:id="rId1"/>
            </p:custDataLst>
          </p:nvPr>
        </p:nvSpPr>
        <p:spPr/>
        <p:txBody>
          <a:bodyPr vert="horz" lIns="91440" tIns="45720" rIns="91440" bIns="45720" rtlCol="0" anchor="ctr">
            <a:normAutofit/>
          </a:bodyPr>
          <a:lstStyle/>
          <a:p>
            <a:r>
              <a:rPr lang="fr-CA" sz="3200" dirty="0">
                <a:solidFill>
                  <a:schemeClr val="accent5">
                    <a:lumMod val="75000"/>
                  </a:schemeClr>
                </a:solidFill>
                <a:latin typeface="+mj-lt"/>
                <a:cs typeface="+mj-cs"/>
              </a:rPr>
              <a:t>Votre rôle de leader</a:t>
            </a:r>
          </a:p>
        </p:txBody>
      </p:sp>
      <p:sp>
        <p:nvSpPr>
          <p:cNvPr id="6" name="Text Placeholder 5">
            <a:extLst>
              <a:ext uri="{FF2B5EF4-FFF2-40B4-BE49-F238E27FC236}">
                <a16:creationId xmlns:a16="http://schemas.microsoft.com/office/drawing/2014/main" id="{1E046C2E-5794-1A98-BBEA-235FF863B218}"/>
              </a:ext>
            </a:extLst>
          </p:cNvPr>
          <p:cNvSpPr>
            <a:spLocks noGrp="1"/>
          </p:cNvSpPr>
          <p:nvPr>
            <p:ph type="body" sz="half" idx="2"/>
            <p:custDataLst>
              <p:tags r:id="rId2"/>
            </p:custDataLst>
          </p:nvPr>
        </p:nvSpPr>
        <p:spPr>
          <a:xfrm>
            <a:off x="582392" y="2349451"/>
            <a:ext cx="5109570" cy="2953636"/>
          </a:xfrm>
        </p:spPr>
        <p:txBody>
          <a:bodyPr lIns="91440" tIns="45720" rIns="91440" bIns="45720" anchor="t">
            <a:normAutofit/>
          </a:bodyPr>
          <a:lstStyle/>
          <a:p>
            <a:pPr>
              <a:lnSpc>
                <a:spcPct val="90000"/>
              </a:lnSpc>
              <a:spcAft>
                <a:spcPts val="600"/>
              </a:spcAft>
            </a:pPr>
            <a:r>
              <a:rPr lang="fr-CA" sz="1800" dirty="0">
                <a:effectLst/>
                <a:latin typeface="Calibri" panose="020F0502020204030204" pitchFamily="34" charset="0"/>
                <a:ea typeface="Calibri" panose="020F0502020204030204" pitchFamily="34" charset="0"/>
                <a:cs typeface="Calibri" panose="020F0502020204030204" pitchFamily="34" charset="0"/>
              </a:rPr>
              <a:t>En tant que </a:t>
            </a:r>
            <a:r>
              <a:rPr lang="fr-CA" sz="1800" dirty="0">
                <a:latin typeface="Calibri" panose="020F0502020204030204" pitchFamily="34" charset="0"/>
                <a:ea typeface="Calibri" panose="020F0502020204030204" pitchFamily="34" charset="0"/>
                <a:cs typeface="Calibri" panose="020F0502020204030204" pitchFamily="34" charset="0"/>
              </a:rPr>
              <a:t>leader</a:t>
            </a:r>
            <a:r>
              <a:rPr lang="fr-CA" sz="1800" dirty="0">
                <a:effectLst/>
                <a:latin typeface="Calibri" panose="020F0502020204030204" pitchFamily="34" charset="0"/>
                <a:ea typeface="Calibri" panose="020F0502020204030204" pitchFamily="34" charset="0"/>
                <a:cs typeface="Calibri" panose="020F0502020204030204" pitchFamily="34" charset="0"/>
              </a:rPr>
              <a:t>, vous jouez un rôle essentiel en ces temps de changement.</a:t>
            </a:r>
          </a:p>
          <a:p>
            <a:pPr>
              <a:lnSpc>
                <a:spcPct val="90000"/>
              </a:lnSpc>
              <a:spcAft>
                <a:spcPts val="600"/>
              </a:spcAft>
            </a:pPr>
            <a:r>
              <a:rPr lang="fr-CA" sz="1800" dirty="0">
                <a:latin typeface="Calibri" panose="020F0502020204030204" pitchFamily="34" charset="0"/>
                <a:ea typeface="Calibri" panose="020F0502020204030204" pitchFamily="34" charset="0"/>
                <a:cs typeface="Calibri" panose="020F0502020204030204" pitchFamily="34" charset="0"/>
              </a:rPr>
              <a:t>Les employés </a:t>
            </a:r>
            <a:r>
              <a:rPr lang="fr-CA" sz="1800" dirty="0">
                <a:effectLst/>
                <a:latin typeface="Calibri" panose="020F0502020204030204" pitchFamily="34" charset="0"/>
                <a:ea typeface="Calibri" panose="020F0502020204030204" pitchFamily="34" charset="0"/>
                <a:cs typeface="Calibri" panose="020F0502020204030204" pitchFamily="34" charset="0"/>
              </a:rPr>
              <a:t>attendront de leurs leaders qu'ils </a:t>
            </a:r>
            <a:r>
              <a:rPr lang="fr-CA" sz="1800" dirty="0">
                <a:latin typeface="Calibri" panose="020F0502020204030204" pitchFamily="34" charset="0"/>
                <a:ea typeface="Calibri" panose="020F0502020204030204" pitchFamily="34" charset="0"/>
                <a:cs typeface="Calibri" panose="020F0502020204030204" pitchFamily="34" charset="0"/>
              </a:rPr>
              <a:t>s'engagent dans le changement et qu'</a:t>
            </a:r>
            <a:r>
              <a:rPr lang="fr-CA" sz="1800" dirty="0">
                <a:effectLst/>
                <a:latin typeface="Calibri" panose="020F0502020204030204" pitchFamily="34" charset="0"/>
                <a:ea typeface="Calibri" panose="020F0502020204030204" pitchFamily="34" charset="0"/>
                <a:cs typeface="Calibri" panose="020F0502020204030204" pitchFamily="34" charset="0"/>
              </a:rPr>
              <a:t>ils démontrent pourquoi l'optimisation est nécessaire. </a:t>
            </a:r>
          </a:p>
          <a:p>
            <a:pPr>
              <a:lnSpc>
                <a:spcPct val="90000"/>
              </a:lnSpc>
              <a:spcAft>
                <a:spcPts val="600"/>
              </a:spcAft>
            </a:pPr>
            <a:r>
              <a:rPr lang="fr-CA" sz="1800" dirty="0">
                <a:effectLst/>
                <a:latin typeface="Calibri" panose="020F0502020204030204" pitchFamily="34" charset="0"/>
                <a:ea typeface="Calibri" panose="020F0502020204030204" pitchFamily="34" charset="0"/>
                <a:cs typeface="Calibri" panose="020F0502020204030204" pitchFamily="34" charset="0"/>
              </a:rPr>
              <a:t>En tant que </a:t>
            </a:r>
            <a:r>
              <a:rPr lang="fr-CA" sz="1800" dirty="0">
                <a:latin typeface="Calibri" panose="020F0502020204030204" pitchFamily="34" charset="0"/>
                <a:ea typeface="Calibri" panose="020F0502020204030204" pitchFamily="34" charset="0"/>
                <a:cs typeface="Calibri" panose="020F0502020204030204" pitchFamily="34" charset="0"/>
              </a:rPr>
              <a:t>cadre</a:t>
            </a:r>
            <a:r>
              <a:rPr lang="fr-CA" sz="1800" dirty="0">
                <a:effectLst/>
                <a:latin typeface="Calibri" panose="020F0502020204030204" pitchFamily="34" charset="0"/>
                <a:ea typeface="Calibri" panose="020F0502020204030204" pitchFamily="34" charset="0"/>
                <a:cs typeface="Calibri" panose="020F0502020204030204" pitchFamily="34" charset="0"/>
              </a:rPr>
              <a:t>, vous apportez l'autorité et la crédibilité nécessaires à la réussite du changement.</a:t>
            </a:r>
            <a:endParaRPr lang="fr-CA" sz="1800" dirty="0">
              <a:latin typeface="Calibri" panose="020F0502020204030204" pitchFamily="34" charset="0"/>
              <a:ea typeface="Calibri" panose="020F0502020204030204" pitchFamily="34" charset="0"/>
              <a:cs typeface="Calibri" panose="020F0502020204030204" pitchFamily="34" charset="0"/>
            </a:endParaRPr>
          </a:p>
          <a:p>
            <a:endParaRPr lang="fr-CA"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Placeholder 8" descr="Sailboats following a sailboat with a red sail.">
            <a:extLst>
              <a:ext uri="{FF2B5EF4-FFF2-40B4-BE49-F238E27FC236}">
                <a16:creationId xmlns:a16="http://schemas.microsoft.com/office/drawing/2014/main" id="{013C9C46-AB96-1193-BAA4-09DB126E5274}"/>
              </a:ext>
            </a:extLst>
          </p:cNvPr>
          <p:cNvPicPr>
            <a:picLocks noGrp="1" noChangeAspect="1"/>
          </p:cNvPicPr>
          <p:nvPr>
            <p:ph type="pic" idx="1"/>
            <p:custDataLst>
              <p:tags r:id="rId3"/>
            </p:custDataLst>
          </p:nvPr>
        </p:nvPicPr>
        <p:blipFill>
          <a:blip r:embed="rId6" cstate="screen">
            <a:extLst>
              <a:ext uri="{28A0092B-C50C-407E-A947-70E740481C1C}">
                <a14:useLocalDpi xmlns:a14="http://schemas.microsoft.com/office/drawing/2010/main" val="0"/>
              </a:ext>
            </a:extLst>
          </a:blip>
          <a:srcRect/>
          <a:stretch>
            <a:fillRect/>
          </a:stretch>
        </p:blipFill>
        <p:spPr>
          <a:xfrm>
            <a:off x="6419652" y="2075065"/>
            <a:ext cx="4806167" cy="29536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91831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7F99B2-4BB8-F561-E89D-85B8AF383FB1}"/>
              </a:ext>
            </a:extLst>
          </p:cNvPr>
          <p:cNvSpPr>
            <a:spLocks noGrp="1"/>
          </p:cNvSpPr>
          <p:nvPr>
            <p:ph type="title"/>
            <p:custDataLst>
              <p:tags r:id="rId1"/>
            </p:custDataLst>
          </p:nvPr>
        </p:nvSpPr>
        <p:spPr>
          <a:xfrm>
            <a:off x="542878" y="550861"/>
            <a:ext cx="11313420" cy="835027"/>
          </a:xfrm>
        </p:spPr>
        <p:txBody>
          <a:bodyPr>
            <a:normAutofit/>
          </a:bodyPr>
          <a:lstStyle/>
          <a:p>
            <a:r>
              <a:rPr lang="fr-CA" dirty="0"/>
              <a:t>Saisissez les occasions de jouer votre rôle</a:t>
            </a:r>
          </a:p>
        </p:txBody>
      </p:sp>
      <p:sp>
        <p:nvSpPr>
          <p:cNvPr id="3" name="Text Placeholder 2">
            <a:extLst>
              <a:ext uri="{FF2B5EF4-FFF2-40B4-BE49-F238E27FC236}">
                <a16:creationId xmlns:a16="http://schemas.microsoft.com/office/drawing/2014/main" id="{F1C3E258-F619-5F69-B737-122EB008B65B}"/>
              </a:ext>
            </a:extLst>
          </p:cNvPr>
          <p:cNvSpPr>
            <a:spLocks noGrp="1"/>
          </p:cNvSpPr>
          <p:nvPr>
            <p:ph type="body" sz="half" idx="2"/>
            <p:custDataLst>
              <p:tags r:id="rId2"/>
            </p:custDataLst>
          </p:nvPr>
        </p:nvSpPr>
        <p:spPr>
          <a:xfrm>
            <a:off x="369740" y="1572732"/>
            <a:ext cx="6782427" cy="4592640"/>
          </a:xfrm>
        </p:spPr>
        <p:txBody>
          <a:bodyPr>
            <a:normAutofit lnSpcReduction="10000"/>
          </a:bodyPr>
          <a:lstStyle/>
          <a:p>
            <a:pPr marL="285750" indent="-285750">
              <a:lnSpc>
                <a:spcPct val="107000"/>
              </a:lnSpc>
              <a:spcBef>
                <a:spcPts val="0"/>
              </a:spcBef>
              <a:spcAft>
                <a:spcPts val="800"/>
              </a:spcAft>
              <a:buFont typeface="Arial" panose="020B0604020202020204" pitchFamily="34" charset="0"/>
              <a:buChar char="•"/>
            </a:pPr>
            <a:r>
              <a:rPr lang="fr-CA" sz="1900" dirty="0">
                <a:effectLst/>
                <a:latin typeface="Calibri" panose="020F0502020204030204" pitchFamily="34" charset="0"/>
                <a:ea typeface="Calibri" panose="020F0502020204030204" pitchFamily="34" charset="0"/>
                <a:cs typeface="Times New Roman" panose="02020603050405020304" pitchFamily="18" charset="0"/>
              </a:rPr>
              <a:t>Discutez régulièrement de la vision et des raisons de l'optimisation et du changement.</a:t>
            </a:r>
          </a:p>
          <a:p>
            <a:pPr marL="285750" indent="-285750">
              <a:lnSpc>
                <a:spcPct val="107000"/>
              </a:lnSpc>
              <a:spcBef>
                <a:spcPts val="0"/>
              </a:spcBef>
              <a:spcAft>
                <a:spcPts val="800"/>
              </a:spcAft>
              <a:buFont typeface="Arial" panose="020B0604020202020204" pitchFamily="34" charset="0"/>
              <a:buChar char="•"/>
            </a:pPr>
            <a:r>
              <a:rPr lang="fr-CA" sz="1900" kern="100" dirty="0">
                <a:effectLst/>
                <a:latin typeface="Calibri" panose="020F0502020204030204" pitchFamily="34" charset="0"/>
                <a:ea typeface="Calibri" panose="020F0502020204030204" pitchFamily="34" charset="0"/>
                <a:cs typeface="Times New Roman" panose="02020603050405020304" pitchFamily="18" charset="0"/>
              </a:rPr>
              <a:t>Profitez des événements et activités existantes </a:t>
            </a:r>
            <a:r>
              <a:rPr lang="fr-CA" sz="1900" kern="100" dirty="0">
                <a:latin typeface="Calibri" panose="020F0502020204030204" pitchFamily="34" charset="0"/>
                <a:ea typeface="Calibri" panose="020F0502020204030204" pitchFamily="34" charset="0"/>
                <a:cs typeface="Times New Roman" panose="02020603050405020304" pitchFamily="18" charset="0"/>
              </a:rPr>
              <a:t>pour engager, consulter et mobiliser votre direction générale. </a:t>
            </a:r>
            <a:r>
              <a:rPr lang="fr-CA" sz="1900" kern="100" dirty="0">
                <a:effectLst/>
                <a:latin typeface="Calibri" panose="020F0502020204030204" pitchFamily="34" charset="0"/>
                <a:ea typeface="Calibri" panose="020F0502020204030204" pitchFamily="34" charset="0"/>
                <a:cs typeface="Times New Roman" panose="02020603050405020304" pitchFamily="18" charset="0"/>
              </a:rPr>
              <a:t>Il peut s'agir de réunions de tout le personnel, de réunions de </a:t>
            </a:r>
            <a:r>
              <a:rPr lang="fr-CA" sz="1900" kern="100" dirty="0">
                <a:latin typeface="Calibri" panose="020F0502020204030204" pitchFamily="34" charset="0"/>
                <a:ea typeface="Calibri" panose="020F0502020204030204" pitchFamily="34" charset="0"/>
                <a:cs typeface="Times New Roman" panose="02020603050405020304" pitchFamily="18" charset="0"/>
              </a:rPr>
              <a:t>gestion</a:t>
            </a:r>
            <a:r>
              <a:rPr lang="fr-CA" sz="1900" kern="100" dirty="0">
                <a:effectLst/>
                <a:latin typeface="Calibri" panose="020F0502020204030204" pitchFamily="34" charset="0"/>
                <a:ea typeface="Calibri" panose="020F0502020204030204" pitchFamily="34" charset="0"/>
                <a:cs typeface="Times New Roman" panose="02020603050405020304" pitchFamily="18" charset="0"/>
              </a:rPr>
              <a:t>, de discussions informelles, de sondages, etc.</a:t>
            </a:r>
          </a:p>
          <a:p>
            <a:pPr marL="285750" indent="-285750">
              <a:lnSpc>
                <a:spcPct val="107000"/>
              </a:lnSpc>
              <a:spcBef>
                <a:spcPts val="0"/>
              </a:spcBef>
              <a:spcAft>
                <a:spcPts val="800"/>
              </a:spcAft>
              <a:buFont typeface="Arial" panose="020B0604020202020204" pitchFamily="34" charset="0"/>
              <a:buChar char="•"/>
            </a:pPr>
            <a:r>
              <a:rPr lang="fr-CA" sz="1900" kern="100" dirty="0">
                <a:latin typeface="Calibri" panose="020F0502020204030204" pitchFamily="34" charset="0"/>
                <a:ea typeface="Calibri" panose="020F0502020204030204" pitchFamily="34" charset="0"/>
                <a:cs typeface="Times New Roman" panose="02020603050405020304" pitchFamily="18" charset="0"/>
              </a:rPr>
              <a:t>Restez à l’affût, réfléchissez à la manière dont vous utiliserez différemment le milieu de travail optimisé et communiquez-le à votre équipe.</a:t>
            </a:r>
          </a:p>
          <a:p>
            <a:pPr marL="285750" indent="-285750">
              <a:lnSpc>
                <a:spcPct val="107000"/>
              </a:lnSpc>
              <a:spcBef>
                <a:spcPts val="0"/>
              </a:spcBef>
              <a:spcAft>
                <a:spcPts val="800"/>
              </a:spcAft>
              <a:buFont typeface="Arial" panose="020B0604020202020204" pitchFamily="34" charset="0"/>
              <a:buChar char="•"/>
            </a:pPr>
            <a:r>
              <a:rPr lang="fr-CA" sz="1900" kern="100" dirty="0">
                <a:effectLst/>
                <a:latin typeface="Calibri" panose="020F0502020204030204" pitchFamily="34" charset="0"/>
                <a:ea typeface="Calibri" panose="020F0502020204030204" pitchFamily="34" charset="0"/>
                <a:cs typeface="Times New Roman" panose="02020603050405020304" pitchFamily="18" charset="0"/>
              </a:rPr>
              <a:t>Relayez toutes les informations afin d'habiliter et d'équiper les gestionnaires et les superviseurs pour qu'ils puissent gérer le changement et aider leur personnel à faire de même. </a:t>
            </a:r>
          </a:p>
          <a:p>
            <a:pPr marL="285750" marR="0" indent="-285750">
              <a:lnSpc>
                <a:spcPct val="107000"/>
              </a:lnSpc>
              <a:spcBef>
                <a:spcPts val="0"/>
              </a:spcBef>
              <a:spcAft>
                <a:spcPts val="800"/>
              </a:spcAft>
              <a:buFont typeface="Arial" panose="020B0604020202020204" pitchFamily="34" charset="0"/>
              <a:buChar char="•"/>
            </a:pPr>
            <a:r>
              <a:rPr lang="fr-CA" sz="1900" kern="1200" dirty="0" err="1">
                <a:solidFill>
                  <a:schemeClr val="tx1"/>
                </a:solidFill>
                <a:latin typeface="Calibri" panose="020F0502020204030204" pitchFamily="34" charset="0"/>
                <a:ea typeface="+mn-ea"/>
                <a:cs typeface="Times New Roman" panose="02020603050405020304" pitchFamily="18" charset="0"/>
              </a:rPr>
              <a:t>Reconnaîssez</a:t>
            </a:r>
            <a:r>
              <a:rPr lang="fr-CA" sz="1900" kern="1200" dirty="0">
                <a:solidFill>
                  <a:schemeClr val="tx1"/>
                </a:solidFill>
                <a:latin typeface="Calibri" panose="020F0502020204030204" pitchFamily="34" charset="0"/>
                <a:ea typeface="+mn-ea"/>
                <a:cs typeface="Times New Roman" panose="02020603050405020304" pitchFamily="18" charset="0"/>
              </a:rPr>
              <a:t> les individus/équipes qui ont pris des mesures supplémentaires pour réaliser le changement.</a:t>
            </a:r>
          </a:p>
          <a:p>
            <a:pPr marL="285750" marR="0" indent="-285750">
              <a:lnSpc>
                <a:spcPct val="107000"/>
              </a:lnSpc>
              <a:spcBef>
                <a:spcPts val="0"/>
              </a:spcBef>
              <a:spcAft>
                <a:spcPts val="800"/>
              </a:spcAft>
              <a:buFont typeface="Arial" panose="020B0604020202020204" pitchFamily="34" charset="0"/>
              <a:buChar char="•"/>
            </a:pPr>
            <a:endParaRPr lang="fr-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fr-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fr-CA" sz="19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CA" dirty="0"/>
          </a:p>
        </p:txBody>
      </p:sp>
      <p:pic>
        <p:nvPicPr>
          <p:cNvPr id="10" name="Graphic 9" descr="A flying paper airplane">
            <a:extLst>
              <a:ext uri="{FF2B5EF4-FFF2-40B4-BE49-F238E27FC236}">
                <a16:creationId xmlns:a16="http://schemas.microsoft.com/office/drawing/2014/main" id="{2A6766A1-29EE-86F2-24DD-4E788C4A322F}"/>
              </a:ext>
            </a:extLst>
          </p:cNvPr>
          <p:cNvPicPr>
            <a:picLocks noChangeAspect="1"/>
          </p:cNvPicPr>
          <p:nvPr>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50260" y="1593372"/>
            <a:ext cx="4572000" cy="4572000"/>
          </a:xfrm>
          <a:prstGeom prst="rect">
            <a:avLst/>
          </a:prstGeom>
        </p:spPr>
      </p:pic>
    </p:spTree>
    <p:extLst>
      <p:ext uri="{BB962C8B-B14F-4D97-AF65-F5344CB8AC3E}">
        <p14:creationId xmlns:p14="http://schemas.microsoft.com/office/powerpoint/2010/main" val="1053501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custDataLst>
              <p:tags r:id="rId1"/>
            </p:custDataLst>
          </p:nvPr>
        </p:nvSpPr>
        <p:spPr/>
        <p:txBody>
          <a:bodyPr/>
          <a:lstStyle/>
          <a:p>
            <a:r>
              <a:rPr lang="fr-CA" dirty="0"/>
              <a:t>Faites preuve de compassion et de grâce</a:t>
            </a:r>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custDataLst>
              <p:tags r:id="rId2"/>
            </p:custDataLst>
          </p:nvPr>
        </p:nvSpPr>
        <p:spPr>
          <a:xfrm>
            <a:off x="583797" y="2047441"/>
            <a:ext cx="5417120" cy="3143244"/>
          </a:xfrm>
        </p:spPr>
        <p:txBody>
          <a:bodyPr lIns="91440" tIns="45720" rIns="91440" bIns="45720" anchor="t">
            <a:normAutofit/>
          </a:bodyPr>
          <a:lstStyle/>
          <a:p>
            <a:pPr marL="342900" indent="-342900">
              <a:spcBef>
                <a:spcPts val="1200"/>
              </a:spcBef>
              <a:buFont typeface="Arial" panose="020B0604020202020204" pitchFamily="34" charset="0"/>
              <a:buChar char="•"/>
            </a:pPr>
            <a:r>
              <a:rPr lang="fr-CA" sz="1800" dirty="0">
                <a:latin typeface="Calibri"/>
                <a:ea typeface="Calibri"/>
                <a:cs typeface="Times New Roman"/>
              </a:rPr>
              <a:t>Un dirigeant compatissant se soucie véritablement de son équipe et comprend ses émotions et ses difficultés. Il est compréhensif et offre du soutien tout en étant optimiste quant à l'avenir. </a:t>
            </a:r>
            <a:endParaRPr lang="fr-CA" sz="1800" dirty="0"/>
          </a:p>
          <a:p>
            <a:pPr marL="342900" indent="-342900">
              <a:spcBef>
                <a:spcPts val="1200"/>
              </a:spcBef>
              <a:buFont typeface="Arial" panose="020B0604020202020204" pitchFamily="34" charset="0"/>
              <a:buChar char="•"/>
            </a:pPr>
            <a:r>
              <a:rPr lang="fr-CA" sz="1800" dirty="0">
                <a:latin typeface="Calibri"/>
                <a:ea typeface="Calibri"/>
                <a:cs typeface="Times New Roman"/>
              </a:rPr>
              <a:t>Un leader gère les situations difficiles avec assurance et dignité, puis il peut facilement s'adapter à des événements inattendus.</a:t>
            </a:r>
          </a:p>
          <a:p>
            <a:pPr marL="342900" indent="-342900">
              <a:spcBef>
                <a:spcPts val="1200"/>
              </a:spcBef>
              <a:buFont typeface="Arial" panose="020B0604020202020204" pitchFamily="34" charset="0"/>
              <a:buChar char="•"/>
            </a:pPr>
            <a:r>
              <a:rPr lang="fr-CA" sz="1800" dirty="0">
                <a:latin typeface="Calibri"/>
                <a:ea typeface="Calibri"/>
                <a:cs typeface="Calibri"/>
              </a:rPr>
              <a:t>À prendre en compte : les employés se trouveront tous à un stade différent de la courbe du changement et la manière dont ils s’intègrent peut être différente.</a:t>
            </a:r>
            <a:endParaRPr lang="fr-CA" sz="1800" dirty="0">
              <a:latin typeface="Calibri"/>
              <a:ea typeface="Calibri"/>
              <a:cs typeface="Times New Roman"/>
            </a:endParaRPr>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custDataLst>
              <p:tags r:id="rId3"/>
            </p:custDataLst>
          </p:nvPr>
        </p:nvPicPr>
        <p:blipFill>
          <a:blip r:embed="rId7" cstate="screen">
            <a:extLst>
              <a:ext uri="{28A0092B-C50C-407E-A947-70E740481C1C}">
                <a14:useLocalDpi xmlns:a14="http://schemas.microsoft.com/office/drawing/2010/main" val="0"/>
              </a:ext>
            </a:extLst>
          </a:blip>
          <a:srcRect/>
          <a:stretch>
            <a:fillRect/>
          </a:stretch>
        </p:blipFill>
        <p:spPr>
          <a:xfrm>
            <a:off x="5858934" y="1787709"/>
            <a:ext cx="5627820" cy="3458584"/>
          </a:xfrm>
        </p:spPr>
      </p:pic>
      <p:sp>
        <p:nvSpPr>
          <p:cNvPr id="2" name="Rectangle 1">
            <a:extLst>
              <a:ext uri="{FF2B5EF4-FFF2-40B4-BE49-F238E27FC236}">
                <a16:creationId xmlns:a16="http://schemas.microsoft.com/office/drawing/2014/main" id="{FD8450FA-87DE-CC2B-2FE8-FB60CEE777D2}"/>
              </a:ext>
              <a:ext uri="{C183D7F6-B498-43B3-948B-1728B52AA6E4}">
                <adec:decorative xmlns:adec="http://schemas.microsoft.com/office/drawing/2017/decorative" val="1"/>
              </a:ext>
            </a:extLst>
          </p:cNvPr>
          <p:cNvSpPr/>
          <p:nvPr>
            <p:custDataLst>
              <p:tags r:id="rId4"/>
            </p:custDataLst>
          </p:nvPr>
        </p:nvSpPr>
        <p:spPr>
          <a:xfrm>
            <a:off x="5858933" y="1787709"/>
            <a:ext cx="5749269" cy="3458584"/>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Tree>
    <p:extLst>
      <p:ext uri="{BB962C8B-B14F-4D97-AF65-F5344CB8AC3E}">
        <p14:creationId xmlns:p14="http://schemas.microsoft.com/office/powerpoint/2010/main" val="3675530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E54B41-AB8B-A396-0E3C-85310818D719}"/>
              </a:ext>
            </a:extLst>
          </p:cNvPr>
          <p:cNvSpPr>
            <a:spLocks noGrp="1"/>
          </p:cNvSpPr>
          <p:nvPr>
            <p:ph type="title"/>
            <p:custDataLst>
              <p:tags r:id="rId1"/>
            </p:custDataLst>
          </p:nvPr>
        </p:nvSpPr>
        <p:spPr>
          <a:xfrm>
            <a:off x="174219" y="2388782"/>
            <a:ext cx="11471976" cy="1606624"/>
          </a:xfrm>
        </p:spPr>
        <p:txBody>
          <a:bodyPr>
            <a:normAutofit fontScale="90000"/>
          </a:bodyPr>
          <a:lstStyle/>
          <a:p>
            <a:r>
              <a:rPr lang="fr-CA" dirty="0"/>
              <a:t>Gestion du changement et impact du leadership</a:t>
            </a:r>
            <a:br>
              <a:rPr lang="fr-CA" dirty="0"/>
            </a:br>
            <a:endParaRPr lang="fr-CA" dirty="0"/>
          </a:p>
        </p:txBody>
      </p:sp>
      <p:sp>
        <p:nvSpPr>
          <p:cNvPr id="8" name="ZoneTexte 7">
            <a:extLst>
              <a:ext uri="{FF2B5EF4-FFF2-40B4-BE49-F238E27FC236}">
                <a16:creationId xmlns:a16="http://schemas.microsoft.com/office/drawing/2014/main" id="{BE55429A-6F3A-2285-E739-C5FAA648F760}"/>
              </a:ext>
            </a:extLst>
          </p:cNvPr>
          <p:cNvSpPr txBox="1"/>
          <p:nvPr>
            <p:custDataLst>
              <p:tags r:id="rId2"/>
            </p:custDataLst>
          </p:nvPr>
        </p:nvSpPr>
        <p:spPr>
          <a:xfrm>
            <a:off x="174219" y="3733796"/>
            <a:ext cx="6127896" cy="523220"/>
          </a:xfrm>
          <a:prstGeom prst="rect">
            <a:avLst/>
          </a:prstGeom>
          <a:noFill/>
        </p:spPr>
        <p:txBody>
          <a:bodyPr wrap="square">
            <a:spAutoFit/>
          </a:bodyPr>
          <a:lstStyle/>
          <a:p>
            <a:r>
              <a:rPr lang="fr-CA" sz="2800" b="1" dirty="0"/>
              <a:t>Étude de personas</a:t>
            </a:r>
          </a:p>
        </p:txBody>
      </p:sp>
    </p:spTree>
    <p:extLst>
      <p:ext uri="{BB962C8B-B14F-4D97-AF65-F5344CB8AC3E}">
        <p14:creationId xmlns:p14="http://schemas.microsoft.com/office/powerpoint/2010/main" val="3253347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ABC30-17CF-4A05-BBF2-C491854EEE86}"/>
              </a:ext>
            </a:extLst>
          </p:cNvPr>
          <p:cNvSpPr>
            <a:spLocks noGrp="1"/>
          </p:cNvSpPr>
          <p:nvPr>
            <p:ph type="title"/>
            <p:custDataLst>
              <p:tags r:id="rId1"/>
            </p:custDataLst>
          </p:nvPr>
        </p:nvSpPr>
        <p:spPr/>
        <p:txBody>
          <a:bodyPr/>
          <a:lstStyle/>
          <a:p>
            <a:r>
              <a:rPr lang="fr-CA" dirty="0"/>
              <a:t>Réactions au changement</a:t>
            </a:r>
          </a:p>
        </p:txBody>
      </p:sp>
      <p:sp>
        <p:nvSpPr>
          <p:cNvPr id="50" name="TextBox 49">
            <a:extLst>
              <a:ext uri="{FF2B5EF4-FFF2-40B4-BE49-F238E27FC236}">
                <a16:creationId xmlns:a16="http://schemas.microsoft.com/office/drawing/2014/main" id="{DE50AACE-0335-48A5-BAF4-47E45007D9DC}"/>
              </a:ext>
            </a:extLst>
          </p:cNvPr>
          <p:cNvSpPr txBox="1"/>
          <p:nvPr>
            <p:custDataLst>
              <p:tags r:id="rId2"/>
            </p:custDataLst>
          </p:nvPr>
        </p:nvSpPr>
        <p:spPr>
          <a:xfrm>
            <a:off x="508759" y="1319942"/>
            <a:ext cx="6572669" cy="523220"/>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La courbe de changement ci-dessous illustre la transition à laquelle on peut s'attendre des individus.</a:t>
            </a:r>
          </a:p>
        </p:txBody>
      </p:sp>
      <p:grpSp>
        <p:nvGrpSpPr>
          <p:cNvPr id="39"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C2191868-CCF5-4452-B018-92CA700DC7A2}"/>
              </a:ext>
            </a:extLst>
          </p:cNvPr>
          <p:cNvGrpSpPr/>
          <p:nvPr>
            <p:custDataLst>
              <p:tags r:id="rId3"/>
            </p:custDataLst>
          </p:nvPr>
        </p:nvGrpSpPr>
        <p:grpSpPr>
          <a:xfrm>
            <a:off x="90307" y="2645202"/>
            <a:ext cx="7090223" cy="3501715"/>
            <a:chOff x="426363" y="1569720"/>
            <a:chExt cx="7090223" cy="3667640"/>
          </a:xfrm>
        </p:grpSpPr>
        <p:cxnSp>
          <p:nvCxnSpPr>
            <p:cNvPr id="10" name="Straight Arrow Connector 9">
              <a:extLst>
                <a:ext uri="{FF2B5EF4-FFF2-40B4-BE49-F238E27FC236}">
                  <a16:creationId xmlns:a16="http://schemas.microsoft.com/office/drawing/2014/main" id="{1B231655-D18E-4271-BA78-D0E1F28479E0}"/>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165D611-8F18-4B2E-BEAA-2B697479E0C8}"/>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0CACA278-8846-461F-8C90-36C80E352F7E}"/>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5" name="Oval 14">
              <a:extLst>
                <a:ext uri="{FF2B5EF4-FFF2-40B4-BE49-F238E27FC236}">
                  <a16:creationId xmlns:a16="http://schemas.microsoft.com/office/drawing/2014/main" id="{95A31F6C-BC75-4062-B21A-68B6ADEC68AE}"/>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6" name="Oval 15">
              <a:extLst>
                <a:ext uri="{FF2B5EF4-FFF2-40B4-BE49-F238E27FC236}">
                  <a16:creationId xmlns:a16="http://schemas.microsoft.com/office/drawing/2014/main" id="{7570F9A0-5243-45FE-82DA-2E40F6155956}"/>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7" name="Oval 16">
              <a:extLst>
                <a:ext uri="{FF2B5EF4-FFF2-40B4-BE49-F238E27FC236}">
                  <a16:creationId xmlns:a16="http://schemas.microsoft.com/office/drawing/2014/main" id="{7D12F651-7641-4522-87CE-6C0EEA3B2882}"/>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Oval 17">
              <a:extLst>
                <a:ext uri="{FF2B5EF4-FFF2-40B4-BE49-F238E27FC236}">
                  <a16:creationId xmlns:a16="http://schemas.microsoft.com/office/drawing/2014/main" id="{8F8602EB-833B-4D25-8567-AFBFF0CFB8E1}"/>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0" name="TextBox 19">
              <a:extLst>
                <a:ext uri="{FF2B5EF4-FFF2-40B4-BE49-F238E27FC236}">
                  <a16:creationId xmlns:a16="http://schemas.microsoft.com/office/drawing/2014/main" id="{C48292AC-ACA6-4763-92CE-02F2C17834A2}"/>
                </a:ext>
              </a:extLst>
            </p:cNvPr>
            <p:cNvSpPr txBox="1"/>
            <p:nvPr/>
          </p:nvSpPr>
          <p:spPr>
            <a:xfrm>
              <a:off x="894839" y="2035903"/>
              <a:ext cx="857250" cy="354596"/>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Déni</a:t>
              </a:r>
            </a:p>
          </p:txBody>
        </p:sp>
        <p:sp>
          <p:nvSpPr>
            <p:cNvPr id="21" name="TextBox 20">
              <a:extLst>
                <a:ext uri="{FF2B5EF4-FFF2-40B4-BE49-F238E27FC236}">
                  <a16:creationId xmlns:a16="http://schemas.microsoft.com/office/drawing/2014/main" id="{E120499F-6C76-4B5F-AE78-94EE93E3E65F}"/>
                </a:ext>
              </a:extLst>
            </p:cNvPr>
            <p:cNvSpPr txBox="1"/>
            <p:nvPr/>
          </p:nvSpPr>
          <p:spPr>
            <a:xfrm>
              <a:off x="1685474" y="3781820"/>
              <a:ext cx="1353001" cy="354596"/>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Résistance</a:t>
              </a:r>
            </a:p>
          </p:txBody>
        </p:sp>
        <p:sp>
          <p:nvSpPr>
            <p:cNvPr id="22" name="TextBox 21">
              <a:extLst>
                <a:ext uri="{FF2B5EF4-FFF2-40B4-BE49-F238E27FC236}">
                  <a16:creationId xmlns:a16="http://schemas.microsoft.com/office/drawing/2014/main" id="{6BA22E8F-4E55-4913-BD3E-033B7C0D2C1F}"/>
                </a:ext>
              </a:extLst>
            </p:cNvPr>
            <p:cNvSpPr txBox="1"/>
            <p:nvPr/>
          </p:nvSpPr>
          <p:spPr>
            <a:xfrm>
              <a:off x="4573983" y="1734985"/>
              <a:ext cx="1353001" cy="354596"/>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Engagement</a:t>
              </a:r>
            </a:p>
          </p:txBody>
        </p:sp>
        <p:sp>
          <p:nvSpPr>
            <p:cNvPr id="23" name="TextBox 22">
              <a:extLst>
                <a:ext uri="{FF2B5EF4-FFF2-40B4-BE49-F238E27FC236}">
                  <a16:creationId xmlns:a16="http://schemas.microsoft.com/office/drawing/2014/main" id="{9766194C-81AF-4510-9A27-1CB14B7DD138}"/>
                </a:ext>
              </a:extLst>
            </p:cNvPr>
            <p:cNvSpPr txBox="1"/>
            <p:nvPr/>
          </p:nvSpPr>
          <p:spPr>
            <a:xfrm>
              <a:off x="5157737" y="3331139"/>
              <a:ext cx="1353001" cy="354596"/>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Exploration</a:t>
              </a:r>
            </a:p>
          </p:txBody>
        </p:sp>
        <p:sp>
          <p:nvSpPr>
            <p:cNvPr id="24" name="TextBox 23">
              <a:extLst>
                <a:ext uri="{FF2B5EF4-FFF2-40B4-BE49-F238E27FC236}">
                  <a16:creationId xmlns:a16="http://schemas.microsoft.com/office/drawing/2014/main" id="{4EAA5C09-A057-4457-9179-D3508932F0CE}"/>
                </a:ext>
              </a:extLst>
            </p:cNvPr>
            <p:cNvSpPr txBox="1"/>
            <p:nvPr/>
          </p:nvSpPr>
          <p:spPr>
            <a:xfrm>
              <a:off x="895563" y="2292286"/>
              <a:ext cx="1352997" cy="483540"/>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Choc initial et incompréhension</a:t>
              </a:r>
            </a:p>
          </p:txBody>
        </p:sp>
        <p:sp>
          <p:nvSpPr>
            <p:cNvPr id="25" name="TextBox 24">
              <a:extLst>
                <a:ext uri="{FF2B5EF4-FFF2-40B4-BE49-F238E27FC236}">
                  <a16:creationId xmlns:a16="http://schemas.microsoft.com/office/drawing/2014/main" id="{0251BA8F-F02F-4684-BFA2-339B97FB4731}"/>
                </a:ext>
              </a:extLst>
            </p:cNvPr>
            <p:cNvSpPr txBox="1"/>
            <p:nvPr/>
          </p:nvSpPr>
          <p:spPr>
            <a:xfrm>
              <a:off x="1685473" y="4050415"/>
              <a:ext cx="1419675" cy="87037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Sentiments de peur et de colère conduisant à des protestations</a:t>
              </a:r>
            </a:p>
          </p:txBody>
        </p:sp>
        <p:sp>
          <p:nvSpPr>
            <p:cNvPr id="26" name="TextBox 25">
              <a:extLst>
                <a:ext uri="{FF2B5EF4-FFF2-40B4-BE49-F238E27FC236}">
                  <a16:creationId xmlns:a16="http://schemas.microsoft.com/office/drawing/2014/main" id="{02BB73C8-579B-49D9-A107-E536848D3FA4}"/>
                </a:ext>
              </a:extLst>
            </p:cNvPr>
            <p:cNvSpPr txBox="1"/>
            <p:nvPr/>
          </p:nvSpPr>
          <p:spPr>
            <a:xfrm>
              <a:off x="5172927" y="3608835"/>
              <a:ext cx="1938467" cy="87037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Compréhension, enthousiasme et questionnement des employés</a:t>
              </a:r>
            </a:p>
          </p:txBody>
        </p:sp>
        <p:sp>
          <p:nvSpPr>
            <p:cNvPr id="27" name="TextBox 26">
              <a:extLst>
                <a:ext uri="{FF2B5EF4-FFF2-40B4-BE49-F238E27FC236}">
                  <a16:creationId xmlns:a16="http://schemas.microsoft.com/office/drawing/2014/main" id="{05F3E546-3287-40AB-B802-EE0D6AC6F169}"/>
                </a:ext>
              </a:extLst>
            </p:cNvPr>
            <p:cNvSpPr txBox="1"/>
            <p:nvPr/>
          </p:nvSpPr>
          <p:spPr>
            <a:xfrm>
              <a:off x="4585031" y="1990972"/>
              <a:ext cx="1419675" cy="676957"/>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Apprendre à s'adapter au changement</a:t>
              </a:r>
            </a:p>
          </p:txBody>
        </p:sp>
        <p:sp>
          <p:nvSpPr>
            <p:cNvPr id="29" name="TextBox 28">
              <a:extLst>
                <a:ext uri="{FF2B5EF4-FFF2-40B4-BE49-F238E27FC236}">
                  <a16:creationId xmlns:a16="http://schemas.microsoft.com/office/drawing/2014/main" id="{062617AB-6DC3-4C46-ADF3-924C89CA34F5}"/>
                </a:ext>
              </a:extLst>
            </p:cNvPr>
            <p:cNvSpPr txBox="1"/>
            <p:nvPr/>
          </p:nvSpPr>
          <p:spPr>
            <a:xfrm>
              <a:off x="5786302" y="4914999"/>
              <a:ext cx="1578019" cy="322361"/>
            </a:xfrm>
            <a:prstGeom prst="rect">
              <a:avLst/>
            </a:prstGeom>
            <a:noFill/>
          </p:spPr>
          <p:txBody>
            <a:bodyPr wrap="square" rtlCol="0">
              <a:spAutoFit/>
            </a:bodyPr>
            <a:lstStyle/>
            <a:p>
              <a:pPr algn="r"/>
              <a:r>
                <a:rPr lang="fr-CA" sz="1400" i="1" dirty="0">
                  <a:latin typeface="Arial" panose="020B0604020202020204" pitchFamily="34" charset="0"/>
                  <a:cs typeface="Arial" panose="020B0604020202020204" pitchFamily="34" charset="0"/>
                </a:rPr>
                <a:t>Temps</a:t>
              </a:r>
              <a:endParaRPr lang="fr-CA" i="1"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C711295-EFBB-4370-8A65-49D40DBA87E6}"/>
                </a:ext>
              </a:extLst>
            </p:cNvPr>
            <p:cNvSpPr txBox="1"/>
            <p:nvPr/>
          </p:nvSpPr>
          <p:spPr>
            <a:xfrm rot="16200000">
              <a:off x="-208758" y="2252323"/>
              <a:ext cx="1578019" cy="307777"/>
            </a:xfrm>
            <a:prstGeom prst="rect">
              <a:avLst/>
            </a:prstGeom>
            <a:noFill/>
          </p:spPr>
          <p:txBody>
            <a:bodyPr wrap="square" rtlCol="0">
              <a:spAutoFit/>
            </a:bodyPr>
            <a:lstStyle/>
            <a:p>
              <a:pPr algn="r"/>
              <a:r>
                <a:rPr lang="fr-CA" sz="1400" i="1" dirty="0">
                  <a:latin typeface="Arial" panose="020B0604020202020204" pitchFamily="34" charset="0"/>
                  <a:cs typeface="Arial" panose="020B0604020202020204" pitchFamily="34" charset="0"/>
                </a:rPr>
                <a:t>Rendement</a:t>
              </a:r>
              <a:endParaRPr lang="fr-CA" i="1" dirty="0">
                <a:latin typeface="Arial" panose="020B0604020202020204" pitchFamily="34" charset="0"/>
                <a:cs typeface="Arial" panose="020B0604020202020204" pitchFamily="34" charset="0"/>
              </a:endParaRPr>
            </a:p>
          </p:txBody>
        </p:sp>
        <p:pic>
          <p:nvPicPr>
            <p:cNvPr id="32" name="Graphic 31" descr="Surprised face with no fill">
              <a:extLst>
                <a:ext uri="{FF2B5EF4-FFF2-40B4-BE49-F238E27FC236}">
                  <a16:creationId xmlns:a16="http://schemas.microsoft.com/office/drawing/2014/main" id="{B3635091-EA6C-45BF-9324-CF1EBEF4F479}"/>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68753" y="2916522"/>
              <a:ext cx="548640" cy="548640"/>
            </a:xfrm>
            <a:prstGeom prst="rect">
              <a:avLst/>
            </a:prstGeom>
          </p:spPr>
        </p:pic>
        <p:pic>
          <p:nvPicPr>
            <p:cNvPr id="34" name="Graphic 33" descr="Neutral face with no fill">
              <a:extLst>
                <a:ext uri="{FF2B5EF4-FFF2-40B4-BE49-F238E27FC236}">
                  <a16:creationId xmlns:a16="http://schemas.microsoft.com/office/drawing/2014/main" id="{C38CF90C-34E3-4FCF-8DBF-4E8830BFE9BE}"/>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34774" y="3207335"/>
              <a:ext cx="548640" cy="548640"/>
            </a:xfrm>
            <a:prstGeom prst="rect">
              <a:avLst/>
            </a:prstGeom>
          </p:spPr>
        </p:pic>
        <p:pic>
          <p:nvPicPr>
            <p:cNvPr id="36" name="Graphic 35" descr="Worried face with no fill">
              <a:extLst>
                <a:ext uri="{FF2B5EF4-FFF2-40B4-BE49-F238E27FC236}">
                  <a16:creationId xmlns:a16="http://schemas.microsoft.com/office/drawing/2014/main" id="{E0429EC4-3C9B-44B9-83F6-0CEB3D37FBC9}"/>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56755" y="3726359"/>
              <a:ext cx="548640" cy="548640"/>
            </a:xfrm>
            <a:prstGeom prst="rect">
              <a:avLst/>
            </a:prstGeom>
          </p:spPr>
        </p:pic>
        <p:pic>
          <p:nvPicPr>
            <p:cNvPr id="38" name="Graphic 37" descr="Grinning face with no fill">
              <a:extLst>
                <a:ext uri="{FF2B5EF4-FFF2-40B4-BE49-F238E27FC236}">
                  <a16:creationId xmlns:a16="http://schemas.microsoft.com/office/drawing/2014/main" id="{112AF510-A1D0-4440-9C80-1F280D90FA2A}"/>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029756" y="1950745"/>
              <a:ext cx="548640" cy="548640"/>
            </a:xfrm>
            <a:prstGeom prst="rect">
              <a:avLst/>
            </a:prstGeom>
          </p:spPr>
        </p:pic>
      </p:grpSp>
      <p:sp>
        <p:nvSpPr>
          <p:cNvPr id="42" name="Flowchart: Off-page Connector 41">
            <a:extLst>
              <a:ext uri="{FF2B5EF4-FFF2-40B4-BE49-F238E27FC236}">
                <a16:creationId xmlns:a16="http://schemas.microsoft.com/office/drawing/2014/main" id="{BCEE7515-3524-472F-8F58-BF6E58A6FF68}"/>
              </a:ext>
            </a:extLst>
          </p:cNvPr>
          <p:cNvSpPr/>
          <p:nvPr>
            <p:custDataLst>
              <p:tags r:id="rId4"/>
            </p:custDataLst>
          </p:nvPr>
        </p:nvSpPr>
        <p:spPr>
          <a:xfrm>
            <a:off x="7431321" y="1475286"/>
            <a:ext cx="4158824" cy="353665"/>
          </a:xfrm>
          <a:prstGeom prst="flowChartOffpage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rial" panose="020B0604020202020204" pitchFamily="34" charset="0"/>
                <a:cs typeface="Arial" panose="020B0604020202020204" pitchFamily="34" charset="0"/>
              </a:rPr>
              <a:t>Déni</a:t>
            </a:r>
          </a:p>
        </p:txBody>
      </p:sp>
      <p:sp>
        <p:nvSpPr>
          <p:cNvPr id="46" name="TextBox 45">
            <a:extLst>
              <a:ext uri="{FF2B5EF4-FFF2-40B4-BE49-F238E27FC236}">
                <a16:creationId xmlns:a16="http://schemas.microsoft.com/office/drawing/2014/main" id="{C1C564CC-726D-4AF9-9415-EA9A7827EF0B}"/>
              </a:ext>
            </a:extLst>
          </p:cNvPr>
          <p:cNvSpPr txBox="1"/>
          <p:nvPr>
            <p:custDataLst>
              <p:tags r:id="rId5"/>
            </p:custDataLst>
          </p:nvPr>
        </p:nvSpPr>
        <p:spPr>
          <a:xfrm>
            <a:off x="7431321" y="1844447"/>
            <a:ext cx="4158824" cy="523220"/>
          </a:xfrm>
          <a:prstGeom prst="rect">
            <a:avLst/>
          </a:prstGeom>
          <a:noFill/>
        </p:spPr>
        <p:txBody>
          <a:bodyPr wrap="square" rtlCol="0">
            <a:spAutoFit/>
          </a:bodyPr>
          <a:lstStyle/>
          <a:p>
            <a:pPr marL="285750" indent="-285750">
              <a:buFont typeface="Arial" panose="020B0604020202020204" pitchFamily="34" charset="0"/>
              <a:buChar char="•"/>
            </a:pPr>
            <a:r>
              <a:rPr lang="fr-CA" sz="1400" dirty="0"/>
              <a:t>Ils ne comprennent pas </a:t>
            </a:r>
            <a:r>
              <a:rPr lang="fr-CA" sz="1400" b="1" dirty="0"/>
              <a:t>pourquoi </a:t>
            </a:r>
            <a:r>
              <a:rPr lang="fr-CA" sz="1400" dirty="0"/>
              <a:t>l'organisation doit procéder à ces changements.</a:t>
            </a:r>
          </a:p>
        </p:txBody>
      </p:sp>
      <p:sp>
        <p:nvSpPr>
          <p:cNvPr id="43" name="Flowchart: Off-page Connector 42">
            <a:extLst>
              <a:ext uri="{FF2B5EF4-FFF2-40B4-BE49-F238E27FC236}">
                <a16:creationId xmlns:a16="http://schemas.microsoft.com/office/drawing/2014/main" id="{A95862EF-6835-47F7-810D-D13EB59C9F3C}"/>
              </a:ext>
            </a:extLst>
          </p:cNvPr>
          <p:cNvSpPr/>
          <p:nvPr>
            <p:custDataLst>
              <p:tags r:id="rId6"/>
            </p:custDataLst>
          </p:nvPr>
        </p:nvSpPr>
        <p:spPr>
          <a:xfrm>
            <a:off x="7431321" y="2408167"/>
            <a:ext cx="4158824"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rial" panose="020B0604020202020204" pitchFamily="34" charset="0"/>
                <a:cs typeface="Arial" panose="020B0604020202020204" pitchFamily="34" charset="0"/>
              </a:rPr>
              <a:t>Résistance</a:t>
            </a:r>
          </a:p>
        </p:txBody>
      </p:sp>
      <p:sp>
        <p:nvSpPr>
          <p:cNvPr id="47" name="TextBox 46">
            <a:extLst>
              <a:ext uri="{FF2B5EF4-FFF2-40B4-BE49-F238E27FC236}">
                <a16:creationId xmlns:a16="http://schemas.microsoft.com/office/drawing/2014/main" id="{7610ADAC-96D2-4161-8E5B-D809086A6EA4}"/>
              </a:ext>
            </a:extLst>
          </p:cNvPr>
          <p:cNvSpPr txBox="1"/>
          <p:nvPr>
            <p:custDataLst>
              <p:tags r:id="rId7"/>
            </p:custDataLst>
          </p:nvPr>
        </p:nvSpPr>
        <p:spPr>
          <a:xfrm>
            <a:off x="7453996" y="2852199"/>
            <a:ext cx="4158824" cy="954107"/>
          </a:xfrm>
          <a:prstGeom prst="rect">
            <a:avLst/>
          </a:prstGeom>
          <a:noFill/>
        </p:spPr>
        <p:txBody>
          <a:bodyPr wrap="square" rtlCol="0">
            <a:spAutoFit/>
          </a:bodyPr>
          <a:lstStyle/>
          <a:p>
            <a:pPr marL="285750" indent="-285750">
              <a:buFont typeface="Arial" panose="020B0604020202020204" pitchFamily="34" charset="0"/>
              <a:buChar char="•"/>
            </a:pPr>
            <a:r>
              <a:rPr lang="fr-CA" sz="1400" dirty="0"/>
              <a:t>Ils sont à la recherche de preuves que ce modèle de milieu de travail n'est pas efficace.</a:t>
            </a:r>
          </a:p>
          <a:p>
            <a:pPr marL="285750" indent="-285750">
              <a:buFont typeface="Arial" panose="020B0604020202020204" pitchFamily="34" charset="0"/>
              <a:buChar char="•"/>
            </a:pPr>
            <a:r>
              <a:rPr lang="fr-CA" sz="1400" dirty="0"/>
              <a:t>Ils se plaignent que les changements ne fonctionneront pas en raison de leurs fonctions.</a:t>
            </a:r>
          </a:p>
        </p:txBody>
      </p:sp>
      <p:sp>
        <p:nvSpPr>
          <p:cNvPr id="44" name="Flowchart: Off-page Connector 43">
            <a:extLst>
              <a:ext uri="{FF2B5EF4-FFF2-40B4-BE49-F238E27FC236}">
                <a16:creationId xmlns:a16="http://schemas.microsoft.com/office/drawing/2014/main" id="{279DBB7C-9EAA-452F-95CC-784DB91B3516}"/>
              </a:ext>
            </a:extLst>
          </p:cNvPr>
          <p:cNvSpPr/>
          <p:nvPr>
            <p:custDataLst>
              <p:tags r:id="rId8"/>
            </p:custDataLst>
          </p:nvPr>
        </p:nvSpPr>
        <p:spPr>
          <a:xfrm>
            <a:off x="7453996" y="3852095"/>
            <a:ext cx="4158824"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rial" panose="020B0604020202020204" pitchFamily="34" charset="0"/>
                <a:cs typeface="Arial" panose="020B0604020202020204" pitchFamily="34" charset="0"/>
              </a:rPr>
              <a:t>Exploration</a:t>
            </a:r>
          </a:p>
        </p:txBody>
      </p:sp>
      <p:sp>
        <p:nvSpPr>
          <p:cNvPr id="48" name="TextBox 47">
            <a:extLst>
              <a:ext uri="{FF2B5EF4-FFF2-40B4-BE49-F238E27FC236}">
                <a16:creationId xmlns:a16="http://schemas.microsoft.com/office/drawing/2014/main" id="{36C29F3A-8516-44CE-8C66-B51F2F37DA86}"/>
              </a:ext>
            </a:extLst>
          </p:cNvPr>
          <p:cNvSpPr txBox="1"/>
          <p:nvPr>
            <p:custDataLst>
              <p:tags r:id="rId9"/>
            </p:custDataLst>
          </p:nvPr>
        </p:nvSpPr>
        <p:spPr>
          <a:xfrm>
            <a:off x="7431321" y="4266054"/>
            <a:ext cx="4158824" cy="954107"/>
          </a:xfrm>
          <a:prstGeom prst="rect">
            <a:avLst/>
          </a:prstGeom>
          <a:noFill/>
        </p:spPr>
        <p:txBody>
          <a:bodyPr wrap="square" rtlCol="0">
            <a:spAutoFit/>
          </a:bodyPr>
          <a:lstStyle/>
          <a:p>
            <a:pPr marL="285750" indent="-285750">
              <a:buFont typeface="Arial" panose="020B0604020202020204" pitchFamily="34" charset="0"/>
              <a:buChar char="•"/>
            </a:pPr>
            <a:r>
              <a:rPr lang="fr-CA" sz="1400" dirty="0"/>
              <a:t>Ils accordent plus d'attention à l'information et aux formations offertes.</a:t>
            </a:r>
          </a:p>
          <a:p>
            <a:pPr marL="285750" indent="-285750">
              <a:buFont typeface="Arial" panose="020B0604020202020204" pitchFamily="34" charset="0"/>
              <a:buChar char="•"/>
            </a:pPr>
            <a:r>
              <a:rPr lang="fr-CA" sz="1400" dirty="0"/>
              <a:t>Ils commencent à chercher des solutions aux problèmes anticipés ou vécus.</a:t>
            </a:r>
          </a:p>
        </p:txBody>
      </p:sp>
      <p:sp>
        <p:nvSpPr>
          <p:cNvPr id="45" name="Flowchart: Off-page Connector 44">
            <a:extLst>
              <a:ext uri="{FF2B5EF4-FFF2-40B4-BE49-F238E27FC236}">
                <a16:creationId xmlns:a16="http://schemas.microsoft.com/office/drawing/2014/main" id="{B399EB39-A3D7-4EC0-9D48-E3D784BD2DD7}"/>
              </a:ext>
            </a:extLst>
          </p:cNvPr>
          <p:cNvSpPr/>
          <p:nvPr>
            <p:custDataLst>
              <p:tags r:id="rId10"/>
            </p:custDataLst>
          </p:nvPr>
        </p:nvSpPr>
        <p:spPr>
          <a:xfrm>
            <a:off x="7431321" y="5272617"/>
            <a:ext cx="4158824"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rial" panose="020B0604020202020204" pitchFamily="34" charset="0"/>
                <a:cs typeface="Arial" panose="020B0604020202020204" pitchFamily="34" charset="0"/>
              </a:rPr>
              <a:t>Engagement</a:t>
            </a:r>
          </a:p>
        </p:txBody>
      </p:sp>
      <p:sp>
        <p:nvSpPr>
          <p:cNvPr id="49" name="TextBox 48">
            <a:extLst>
              <a:ext uri="{FF2B5EF4-FFF2-40B4-BE49-F238E27FC236}">
                <a16:creationId xmlns:a16="http://schemas.microsoft.com/office/drawing/2014/main" id="{78CC5D01-D6DD-4F92-AA98-55AB1B20A00F}"/>
              </a:ext>
            </a:extLst>
          </p:cNvPr>
          <p:cNvSpPr txBox="1"/>
          <p:nvPr>
            <p:custDataLst>
              <p:tags r:id="rId11"/>
            </p:custDataLst>
          </p:nvPr>
        </p:nvSpPr>
        <p:spPr>
          <a:xfrm>
            <a:off x="7431321" y="5609773"/>
            <a:ext cx="4158824" cy="523220"/>
          </a:xfrm>
          <a:prstGeom prst="rect">
            <a:avLst/>
          </a:prstGeom>
          <a:noFill/>
        </p:spPr>
        <p:txBody>
          <a:bodyPr wrap="square" rtlCol="0">
            <a:spAutoFit/>
          </a:bodyPr>
          <a:lstStyle/>
          <a:p>
            <a:pPr marL="285750" indent="-285750">
              <a:buFont typeface="Arial" panose="020B0604020202020204" pitchFamily="34" charset="0"/>
              <a:buChar char="•"/>
            </a:pPr>
            <a:r>
              <a:rPr lang="fr-CA" sz="1400" dirty="0"/>
              <a:t>Ils adoptent de nouvelles méthodes de travail et respectent l'étiquette.</a:t>
            </a:r>
          </a:p>
        </p:txBody>
      </p:sp>
    </p:spTree>
    <p:extLst>
      <p:ext uri="{BB962C8B-B14F-4D97-AF65-F5344CB8AC3E}">
        <p14:creationId xmlns:p14="http://schemas.microsoft.com/office/powerpoint/2010/main" val="9861891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9087704-33C2-751A-AAA2-42D79C68F89B}"/>
              </a:ext>
            </a:extLst>
          </p:cNvPr>
          <p:cNvSpPr>
            <a:spLocks noGrp="1"/>
          </p:cNvSpPr>
          <p:nvPr>
            <p:ph type="title"/>
            <p:custDataLst>
              <p:tags r:id="rId1"/>
            </p:custDataLst>
          </p:nvPr>
        </p:nvSpPr>
        <p:spPr/>
        <p:txBody>
          <a:bodyPr>
            <a:normAutofit/>
          </a:bodyPr>
          <a:lstStyle/>
          <a:p>
            <a:r>
              <a:rPr lang="fr-CA" dirty="0"/>
              <a:t>L’importance d’avoir des leaders forts – Étude des personas</a:t>
            </a:r>
          </a:p>
        </p:txBody>
      </p:sp>
      <p:sp>
        <p:nvSpPr>
          <p:cNvPr id="15" name="TextBox 14">
            <a:extLst>
              <a:ext uri="{FF2B5EF4-FFF2-40B4-BE49-F238E27FC236}">
                <a16:creationId xmlns:a16="http://schemas.microsoft.com/office/drawing/2014/main" id="{2A224E51-C8E2-AF04-0A70-65F6548C9FA5}"/>
              </a:ext>
            </a:extLst>
          </p:cNvPr>
          <p:cNvSpPr txBox="1"/>
          <p:nvPr>
            <p:custDataLst>
              <p:tags r:id="rId2"/>
            </p:custDataLst>
          </p:nvPr>
        </p:nvSpPr>
        <p:spPr>
          <a:xfrm>
            <a:off x="592827" y="1328458"/>
            <a:ext cx="11006345" cy="3970318"/>
          </a:xfrm>
          <a:prstGeom prst="rect">
            <a:avLst/>
          </a:prstGeom>
          <a:noFill/>
        </p:spPr>
        <p:txBody>
          <a:bodyPr wrap="square" lIns="91440" tIns="45720" rIns="91440" bIns="45720" rtlCol="0" anchor="t">
            <a:spAutoFit/>
          </a:bodyPr>
          <a:lstStyle/>
          <a:p>
            <a:r>
              <a:rPr lang="fr-CA" dirty="0"/>
              <a:t>Prenez en compte l'importance d’avoir des dirigeants compétents en matière de changement pour chacun des employés. Ces personas sont des individus fictifs, confrontés à un changement vers un environnement de travail non attribué.</a:t>
            </a:r>
          </a:p>
          <a:p>
            <a:endParaRPr lang="fr-CA" dirty="0"/>
          </a:p>
          <a:p>
            <a:r>
              <a:rPr lang="fr-CA" b="1" dirty="0"/>
              <a:t>Déni et résistance</a:t>
            </a:r>
          </a:p>
          <a:p>
            <a:r>
              <a:rPr lang="fr-CA" dirty="0"/>
              <a:t>Le côté </a:t>
            </a:r>
            <a:r>
              <a:rPr lang="fr-CA" b="1" dirty="0"/>
              <a:t>gauche </a:t>
            </a:r>
            <a:r>
              <a:rPr lang="fr-CA" dirty="0"/>
              <a:t>des pages suivantes présente une persona qui vit le changement et qui est dans le déni ou qui résiste au changement. Les dirigeants n'ont pas communiqué de vision pour le milieu de travail et n’échangent pas avec les employés sur le sujet. </a:t>
            </a:r>
          </a:p>
          <a:p>
            <a:endParaRPr lang="fr-CA" dirty="0"/>
          </a:p>
          <a:p>
            <a:r>
              <a:rPr lang="fr-CA" b="1" dirty="0"/>
              <a:t>Exploration et engagement</a:t>
            </a:r>
          </a:p>
          <a:p>
            <a:r>
              <a:rPr lang="fr-CA" dirty="0"/>
              <a:t>Le côté </a:t>
            </a:r>
            <a:r>
              <a:rPr lang="fr-CA" b="1" dirty="0"/>
              <a:t>droit </a:t>
            </a:r>
            <a:r>
              <a:rPr lang="fr-CA" dirty="0"/>
              <a:t>présente une persona qui vit le changement avec des leaders forts à cet égard. Ils ont communiqué une vision claire pour leur milieu de travail et soutiennent leurs employés tout au long du changement. Tenez compte des </a:t>
            </a:r>
            <a:r>
              <a:rPr lang="fr-CA" b="1" dirty="0"/>
              <a:t>risques </a:t>
            </a:r>
            <a:r>
              <a:rPr lang="fr-CA" dirty="0"/>
              <a:t>liés à l'absence de dirigeants compétents quant au changement : moral faible, problèmes opérationnels, risques pour la sécurité et accumulation d'inefficacités. </a:t>
            </a:r>
            <a:endParaRPr lang="fr-CA" dirty="0">
              <a:ea typeface="Calibri Light"/>
              <a:cs typeface="Calibri Light"/>
            </a:endParaRPr>
          </a:p>
        </p:txBody>
      </p:sp>
      <p:sp>
        <p:nvSpPr>
          <p:cNvPr id="16" name="TextBox 15">
            <a:extLst>
              <a:ext uri="{FF2B5EF4-FFF2-40B4-BE49-F238E27FC236}">
                <a16:creationId xmlns:a16="http://schemas.microsoft.com/office/drawing/2014/main" id="{DDBAA832-5D5B-F155-4F32-06C89A6062D9}"/>
              </a:ext>
            </a:extLst>
          </p:cNvPr>
          <p:cNvSpPr txBox="1"/>
          <p:nvPr>
            <p:custDataLst>
              <p:tags r:id="rId3"/>
            </p:custDataLst>
          </p:nvPr>
        </p:nvSpPr>
        <p:spPr>
          <a:xfrm>
            <a:off x="3658871" y="6110272"/>
            <a:ext cx="904774" cy="369332"/>
          </a:xfrm>
          <a:prstGeom prst="rect">
            <a:avLst/>
          </a:prstGeom>
          <a:noFill/>
        </p:spPr>
        <p:txBody>
          <a:bodyPr wrap="square" rtlCol="0">
            <a:spAutoFit/>
          </a:bodyPr>
          <a:lstStyle/>
          <a:p>
            <a:r>
              <a:rPr lang="fr-CA" dirty="0"/>
              <a:t>José</a:t>
            </a:r>
          </a:p>
        </p:txBody>
      </p:sp>
      <p:sp>
        <p:nvSpPr>
          <p:cNvPr id="17" name="TextBox 16">
            <a:extLst>
              <a:ext uri="{FF2B5EF4-FFF2-40B4-BE49-F238E27FC236}">
                <a16:creationId xmlns:a16="http://schemas.microsoft.com/office/drawing/2014/main" id="{03D46260-31B6-3CBA-D6E4-2A34CD363B83}"/>
              </a:ext>
            </a:extLst>
          </p:cNvPr>
          <p:cNvSpPr txBox="1"/>
          <p:nvPr>
            <p:custDataLst>
              <p:tags r:id="rId4"/>
            </p:custDataLst>
          </p:nvPr>
        </p:nvSpPr>
        <p:spPr>
          <a:xfrm>
            <a:off x="4948877" y="6145673"/>
            <a:ext cx="1414914" cy="369332"/>
          </a:xfrm>
          <a:prstGeom prst="rect">
            <a:avLst/>
          </a:prstGeom>
          <a:noFill/>
        </p:spPr>
        <p:txBody>
          <a:bodyPr wrap="square" rtlCol="0">
            <a:spAutoFit/>
          </a:bodyPr>
          <a:lstStyle/>
          <a:p>
            <a:r>
              <a:rPr lang="fr-CA" dirty="0"/>
              <a:t>Jean</a:t>
            </a:r>
          </a:p>
        </p:txBody>
      </p:sp>
      <p:sp>
        <p:nvSpPr>
          <p:cNvPr id="19" name="TextBox 18">
            <a:extLst>
              <a:ext uri="{FF2B5EF4-FFF2-40B4-BE49-F238E27FC236}">
                <a16:creationId xmlns:a16="http://schemas.microsoft.com/office/drawing/2014/main" id="{5DABBC32-D0F2-5FB4-F32B-6ACB5C70FCBB}"/>
              </a:ext>
            </a:extLst>
          </p:cNvPr>
          <p:cNvSpPr txBox="1"/>
          <p:nvPr>
            <p:custDataLst>
              <p:tags r:id="rId5"/>
            </p:custDataLst>
          </p:nvPr>
        </p:nvSpPr>
        <p:spPr>
          <a:xfrm>
            <a:off x="6262124" y="6153915"/>
            <a:ext cx="1414914" cy="369332"/>
          </a:xfrm>
          <a:prstGeom prst="rect">
            <a:avLst/>
          </a:prstGeom>
          <a:noFill/>
        </p:spPr>
        <p:txBody>
          <a:bodyPr wrap="square" rtlCol="0">
            <a:spAutoFit/>
          </a:bodyPr>
          <a:lstStyle/>
          <a:p>
            <a:r>
              <a:rPr lang="fr-CA" dirty="0"/>
              <a:t>Nina</a:t>
            </a:r>
          </a:p>
        </p:txBody>
      </p:sp>
      <p:sp>
        <p:nvSpPr>
          <p:cNvPr id="18" name="TextBox 17">
            <a:extLst>
              <a:ext uri="{FF2B5EF4-FFF2-40B4-BE49-F238E27FC236}">
                <a16:creationId xmlns:a16="http://schemas.microsoft.com/office/drawing/2014/main" id="{4EF912C3-D6D2-8ADB-9455-F0BB3EFD9484}"/>
              </a:ext>
            </a:extLst>
          </p:cNvPr>
          <p:cNvSpPr txBox="1"/>
          <p:nvPr>
            <p:custDataLst>
              <p:tags r:id="rId6"/>
            </p:custDataLst>
          </p:nvPr>
        </p:nvSpPr>
        <p:spPr>
          <a:xfrm>
            <a:off x="7499936" y="6144943"/>
            <a:ext cx="1414914" cy="369332"/>
          </a:xfrm>
          <a:prstGeom prst="rect">
            <a:avLst/>
          </a:prstGeom>
          <a:noFill/>
        </p:spPr>
        <p:txBody>
          <a:bodyPr wrap="square" rtlCol="0">
            <a:spAutoFit/>
          </a:bodyPr>
          <a:lstStyle/>
          <a:p>
            <a:r>
              <a:rPr lang="fr-CA" dirty="0"/>
              <a:t>Pascale</a:t>
            </a:r>
          </a:p>
        </p:txBody>
      </p:sp>
      <p:grpSp>
        <p:nvGrpSpPr>
          <p:cNvPr id="28" name="Group 27">
            <a:extLst>
              <a:ext uri="{FF2B5EF4-FFF2-40B4-BE49-F238E27FC236}">
                <a16:creationId xmlns:a16="http://schemas.microsoft.com/office/drawing/2014/main" id="{6EA4F371-D5EA-8625-54CA-54B81D734C2A}"/>
              </a:ext>
              <a:ext uri="{C183D7F6-B498-43B3-948B-1728B52AA6E4}">
                <adec:decorative xmlns:adec="http://schemas.microsoft.com/office/drawing/2017/decorative" val="1"/>
              </a:ext>
            </a:extLst>
          </p:cNvPr>
          <p:cNvGrpSpPr/>
          <p:nvPr>
            <p:custDataLst>
              <p:tags r:id="rId7"/>
            </p:custDataLst>
          </p:nvPr>
        </p:nvGrpSpPr>
        <p:grpSpPr>
          <a:xfrm>
            <a:off x="3492353" y="5249143"/>
            <a:ext cx="904773" cy="904773"/>
            <a:chOff x="2329283" y="5108121"/>
            <a:chExt cx="904773" cy="904773"/>
          </a:xfrm>
        </p:grpSpPr>
        <p:sp>
          <p:nvSpPr>
            <p:cNvPr id="2" name="Oval 1">
              <a:extLst>
                <a:ext uri="{FF2B5EF4-FFF2-40B4-BE49-F238E27FC236}">
                  <a16:creationId xmlns:a16="http://schemas.microsoft.com/office/drawing/2014/main" id="{C335DD1F-EE65-46A4-6836-FB0648BFC42C}"/>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3" name="Graphic 2" descr="User with solid fill">
              <a:extLst>
                <a:ext uri="{FF2B5EF4-FFF2-40B4-BE49-F238E27FC236}">
                  <a16:creationId xmlns:a16="http://schemas.microsoft.com/office/drawing/2014/main" id="{FE3F6084-7EE0-402E-8F92-19DCEE3C854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428550" y="5171860"/>
              <a:ext cx="706240" cy="706240"/>
            </a:xfrm>
            <a:prstGeom prst="rect">
              <a:avLst/>
            </a:prstGeom>
          </p:spPr>
        </p:pic>
      </p:grpSp>
      <p:grpSp>
        <p:nvGrpSpPr>
          <p:cNvPr id="26" name="Group 25">
            <a:extLst>
              <a:ext uri="{FF2B5EF4-FFF2-40B4-BE49-F238E27FC236}">
                <a16:creationId xmlns:a16="http://schemas.microsoft.com/office/drawing/2014/main" id="{6E2E158F-7E6D-0196-2835-4CADE1CFB295}"/>
              </a:ext>
              <a:ext uri="{C183D7F6-B498-43B3-948B-1728B52AA6E4}">
                <adec:decorative xmlns:adec="http://schemas.microsoft.com/office/drawing/2017/decorative" val="1"/>
              </a:ext>
            </a:extLst>
          </p:cNvPr>
          <p:cNvGrpSpPr/>
          <p:nvPr>
            <p:custDataLst>
              <p:tags r:id="rId8"/>
            </p:custDataLst>
          </p:nvPr>
        </p:nvGrpSpPr>
        <p:grpSpPr>
          <a:xfrm>
            <a:off x="4828214" y="5249143"/>
            <a:ext cx="904773" cy="904773"/>
            <a:chOff x="1294317" y="5153902"/>
            <a:chExt cx="904773" cy="904773"/>
          </a:xfrm>
        </p:grpSpPr>
        <p:sp>
          <p:nvSpPr>
            <p:cNvPr id="14" name="Oval 13">
              <a:extLst>
                <a:ext uri="{FF2B5EF4-FFF2-40B4-BE49-F238E27FC236}">
                  <a16:creationId xmlns:a16="http://schemas.microsoft.com/office/drawing/2014/main" id="{7A5E974F-6B05-08FC-4173-83BBA5A8AE21}"/>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0" name="Graphic 19" descr="User with solid fill">
              <a:extLst>
                <a:ext uri="{FF2B5EF4-FFF2-40B4-BE49-F238E27FC236}">
                  <a16:creationId xmlns:a16="http://schemas.microsoft.com/office/drawing/2014/main" id="{7CEE1165-EA61-F993-5011-8E02509911E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93584" y="5217641"/>
              <a:ext cx="706240" cy="706240"/>
            </a:xfrm>
            <a:prstGeom prst="rect">
              <a:avLst/>
            </a:prstGeom>
          </p:spPr>
        </p:pic>
      </p:grpSp>
      <p:grpSp>
        <p:nvGrpSpPr>
          <p:cNvPr id="27" name="Group 26">
            <a:extLst>
              <a:ext uri="{FF2B5EF4-FFF2-40B4-BE49-F238E27FC236}">
                <a16:creationId xmlns:a16="http://schemas.microsoft.com/office/drawing/2014/main" id="{AB01FB73-CE98-45CB-5F16-A502147DF5B3}"/>
              </a:ext>
              <a:ext uri="{C183D7F6-B498-43B3-948B-1728B52AA6E4}">
                <adec:decorative xmlns:adec="http://schemas.microsoft.com/office/drawing/2017/decorative" val="1"/>
              </a:ext>
            </a:extLst>
          </p:cNvPr>
          <p:cNvGrpSpPr/>
          <p:nvPr>
            <p:custDataLst>
              <p:tags r:id="rId9"/>
            </p:custDataLst>
          </p:nvPr>
        </p:nvGrpSpPr>
        <p:grpSpPr>
          <a:xfrm>
            <a:off x="7499936" y="5249143"/>
            <a:ext cx="904773" cy="904773"/>
            <a:chOff x="1898923" y="6065107"/>
            <a:chExt cx="904773" cy="904773"/>
          </a:xfrm>
        </p:grpSpPr>
        <p:sp>
          <p:nvSpPr>
            <p:cNvPr id="22" name="Oval 21">
              <a:extLst>
                <a:ext uri="{FF2B5EF4-FFF2-40B4-BE49-F238E27FC236}">
                  <a16:creationId xmlns:a16="http://schemas.microsoft.com/office/drawing/2014/main" id="{E4840696-954C-1A4E-6847-D74CEAE33491}"/>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3" name="Graphic 22" descr="User with solid fill">
              <a:extLst>
                <a:ext uri="{FF2B5EF4-FFF2-40B4-BE49-F238E27FC236}">
                  <a16:creationId xmlns:a16="http://schemas.microsoft.com/office/drawing/2014/main" id="{A760D1BA-8C8A-C044-C2E1-8FC913B98C0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98189" y="6164373"/>
              <a:ext cx="706240" cy="706240"/>
            </a:xfrm>
            <a:prstGeom prst="rect">
              <a:avLst/>
            </a:prstGeom>
          </p:spPr>
        </p:pic>
      </p:grpSp>
      <p:grpSp>
        <p:nvGrpSpPr>
          <p:cNvPr id="25" name="Group 24">
            <a:extLst>
              <a:ext uri="{FF2B5EF4-FFF2-40B4-BE49-F238E27FC236}">
                <a16:creationId xmlns:a16="http://schemas.microsoft.com/office/drawing/2014/main" id="{E29E7E0E-D92F-F33C-D1BA-963EE4F3E01A}"/>
              </a:ext>
              <a:ext uri="{C183D7F6-B498-43B3-948B-1728B52AA6E4}">
                <adec:decorative xmlns:adec="http://schemas.microsoft.com/office/drawing/2017/decorative" val="1"/>
              </a:ext>
            </a:extLst>
          </p:cNvPr>
          <p:cNvGrpSpPr/>
          <p:nvPr>
            <p:custDataLst>
              <p:tags r:id="rId10"/>
            </p:custDataLst>
          </p:nvPr>
        </p:nvGrpSpPr>
        <p:grpSpPr>
          <a:xfrm>
            <a:off x="6164075" y="5249143"/>
            <a:ext cx="904773" cy="904773"/>
            <a:chOff x="290278" y="5160334"/>
            <a:chExt cx="904773" cy="904773"/>
          </a:xfrm>
        </p:grpSpPr>
        <p:sp>
          <p:nvSpPr>
            <p:cNvPr id="21" name="Oval 20">
              <a:extLst>
                <a:ext uri="{FF2B5EF4-FFF2-40B4-BE49-F238E27FC236}">
                  <a16:creationId xmlns:a16="http://schemas.microsoft.com/office/drawing/2014/main" id="{4299E390-035D-ADB8-80FF-70B7B3DA9EAC}"/>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4" name="Graphic 23" descr="User with solid fill">
              <a:extLst>
                <a:ext uri="{FF2B5EF4-FFF2-40B4-BE49-F238E27FC236}">
                  <a16:creationId xmlns:a16="http://schemas.microsoft.com/office/drawing/2014/main" id="{7D6BAF27-D0DA-CD60-8917-D79EF716E4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388099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254A6-86DE-4A21-B094-C9AE8BEEF21A}"/>
              </a:ext>
            </a:extLst>
          </p:cNvPr>
          <p:cNvSpPr txBox="1">
            <a:spLocks noGrp="1"/>
          </p:cNvSpPr>
          <p:nvPr>
            <p:ph type="title" idx="4294967295"/>
            <p:custDataLst>
              <p:tags r:id="rId1"/>
            </p:custDataLst>
          </p:nvPr>
        </p:nvSpPr>
        <p:spPr>
          <a:xfrm>
            <a:off x="3804694" y="164147"/>
            <a:ext cx="4247664" cy="95410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dirty="0">
                <a:ln>
                  <a:noFill/>
                </a:ln>
                <a:solidFill>
                  <a:schemeClr val="tx1"/>
                </a:solidFill>
                <a:effectLst/>
                <a:uLnTx/>
                <a:uFillTx/>
                <a:latin typeface="Calibri"/>
                <a:ea typeface="Calibri"/>
                <a:cs typeface="Calibri"/>
              </a:rPr>
              <a:t>Les préoccupations de José en matière de sécurité</a:t>
            </a:r>
          </a:p>
        </p:txBody>
      </p:sp>
      <p:sp>
        <p:nvSpPr>
          <p:cNvPr id="8" name="Google Shape;180;p17">
            <a:extLst>
              <a:ext uri="{FF2B5EF4-FFF2-40B4-BE49-F238E27FC236}">
                <a16:creationId xmlns:a16="http://schemas.microsoft.com/office/drawing/2014/main" id="{96EFBFBE-8CD7-D471-D8B0-8D13BB75ECC5}"/>
              </a:ext>
            </a:extLst>
          </p:cNvPr>
          <p:cNvSpPr txBox="1"/>
          <p:nvPr>
            <p:custDataLst>
              <p:tags r:id="rId2"/>
            </p:custDataLst>
          </p:nvPr>
        </p:nvSpPr>
        <p:spPr>
          <a:xfrm>
            <a:off x="1588652" y="2343313"/>
            <a:ext cx="3584655" cy="3703526"/>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José a été informé d'un passage prochain à des postes de travail non attribué, mais il a estimé que cela ne pourrait jamais fonctionner pour son équipe en raison d’enjeux de sécurité. </a:t>
            </a:r>
          </a:p>
          <a:p>
            <a:endParaRPr lang="fr-CA" sz="1600" dirty="0">
              <a:latin typeface="Calibri" panose="020F0502020204030204" pitchFamily="34" charset="0"/>
              <a:ea typeface="Calibri" panose="020F0502020204030204" pitchFamily="34" charset="0"/>
              <a:cs typeface="Calibri" panose="020F0502020204030204" pitchFamily="34" charset="0"/>
              <a:sym typeface="Roboto"/>
            </a:endParaRPr>
          </a:p>
          <a:p>
            <a:r>
              <a:rPr lang="fr-CA" sz="1600" dirty="0">
                <a:latin typeface="Calibri" panose="020F0502020204030204" pitchFamily="34" charset="0"/>
                <a:ea typeface="Calibri" panose="020F0502020204030204" pitchFamily="34" charset="0"/>
                <a:cs typeface="Calibri" panose="020F0502020204030204" pitchFamily="34" charset="0"/>
                <a:sym typeface="Roboto"/>
              </a:rPr>
              <a:t>Au lieu de s'engager dans le processus et de trouver une solution à ces enjeux, il a supposé que son équipe serait autorisée à conserver ses cubicules. Aujourd'hui, on leur annonce que le déménagement aura lieu sous peu.  </a:t>
            </a:r>
          </a:p>
        </p:txBody>
      </p:sp>
      <p:sp>
        <p:nvSpPr>
          <p:cNvPr id="11" name="Google Shape;180;p17">
            <a:extLst>
              <a:ext uri="{FF2B5EF4-FFF2-40B4-BE49-F238E27FC236}">
                <a16:creationId xmlns:a16="http://schemas.microsoft.com/office/drawing/2014/main" id="{3F9CB8D4-6144-CAF9-0CC6-38351C152F7F}"/>
              </a:ext>
            </a:extLst>
          </p:cNvPr>
          <p:cNvSpPr txBox="1"/>
          <p:nvPr>
            <p:custDataLst>
              <p:tags r:id="rId3"/>
            </p:custDataLst>
          </p:nvPr>
        </p:nvSpPr>
        <p:spPr>
          <a:xfrm>
            <a:off x="7130117" y="2349483"/>
            <a:ext cx="3408845" cy="3382723"/>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José n'était pas convaincu par le nouvel espace de travail, mais sa direction lui a explicitement fait comprendre que c'était la voie à suivre et l'a invité à s'engager activement dans le processus. </a:t>
            </a:r>
          </a:p>
          <a:p>
            <a:endParaRPr lang="fr-CA" sz="1600" dirty="0">
              <a:latin typeface="Calibri" panose="020F0502020204030204" pitchFamily="34" charset="0"/>
              <a:ea typeface="Calibri" panose="020F0502020204030204" pitchFamily="34" charset="0"/>
              <a:cs typeface="Calibri" panose="020F0502020204030204" pitchFamily="34" charset="0"/>
              <a:sym typeface="Roboto"/>
            </a:endParaRPr>
          </a:p>
          <a:p>
            <a:r>
              <a:rPr lang="fr-CA" sz="1600" dirty="0">
                <a:latin typeface="Calibri" panose="020F0502020204030204" pitchFamily="34" charset="0"/>
                <a:ea typeface="Calibri" panose="020F0502020204030204" pitchFamily="34" charset="0"/>
                <a:cs typeface="Calibri" panose="020F0502020204030204" pitchFamily="34" charset="0"/>
                <a:sym typeface="Roboto"/>
              </a:rPr>
              <a:t>José a eu la possibilité d'exprimer clairement les besoins de son équipe en matière de sécurité et les aménagements nécessaires ont été effectués. </a:t>
            </a:r>
          </a:p>
        </p:txBody>
      </p:sp>
      <p:sp>
        <p:nvSpPr>
          <p:cNvPr id="10" name="Arrow: Chevron 9">
            <a:extLst>
              <a:ext uri="{FF2B5EF4-FFF2-40B4-BE49-F238E27FC236}">
                <a16:creationId xmlns:a16="http://schemas.microsoft.com/office/drawing/2014/main" id="{2EA7841F-B628-5763-87F4-5C2C97873218}"/>
              </a:ext>
              <a:ext uri="{C183D7F6-B498-43B3-948B-1728B52AA6E4}">
                <adec:decorative xmlns:adec="http://schemas.microsoft.com/office/drawing/2017/decorative" val="1"/>
              </a:ext>
            </a:extLst>
          </p:cNvPr>
          <p:cNvSpPr/>
          <p:nvPr>
            <p:custDataLst>
              <p:tags r:id="rId4"/>
            </p:custDataLst>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sont engagés dans le changement</a:t>
            </a:r>
          </a:p>
        </p:txBody>
      </p:sp>
      <p:sp>
        <p:nvSpPr>
          <p:cNvPr id="13" name="Arrow: Chevron 12">
            <a:extLst>
              <a:ext uri="{FF2B5EF4-FFF2-40B4-BE49-F238E27FC236}">
                <a16:creationId xmlns:a16="http://schemas.microsoft.com/office/drawing/2014/main" id="{F4B3BF70-A09E-2CC1-D775-70C144DE22D1}"/>
              </a:ext>
              <a:ext uri="{C183D7F6-B498-43B3-948B-1728B52AA6E4}">
                <adec:decorative xmlns:adec="http://schemas.microsoft.com/office/drawing/2017/decorative" val="1"/>
              </a:ext>
            </a:extLst>
          </p:cNvPr>
          <p:cNvSpPr/>
          <p:nvPr>
            <p:custDataLst>
              <p:tags r:id="rId5"/>
            </p:custDataLst>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ne s'engagent pas dans le changement</a:t>
            </a:r>
          </a:p>
        </p:txBody>
      </p:sp>
      <p:grpSp>
        <p:nvGrpSpPr>
          <p:cNvPr id="3" name="Group 2">
            <a:extLst>
              <a:ext uri="{FF2B5EF4-FFF2-40B4-BE49-F238E27FC236}">
                <a16:creationId xmlns:a16="http://schemas.microsoft.com/office/drawing/2014/main" id="{AE983709-3980-9C85-CD65-639C81613A88}"/>
              </a:ext>
              <a:ext uri="{C183D7F6-B498-43B3-948B-1728B52AA6E4}">
                <adec:decorative xmlns:adec="http://schemas.microsoft.com/office/drawing/2017/decorative" val="1"/>
              </a:ext>
            </a:extLst>
          </p:cNvPr>
          <p:cNvGrpSpPr/>
          <p:nvPr>
            <p:custDataLst>
              <p:tags r:id="rId6"/>
            </p:custDataLst>
          </p:nvPr>
        </p:nvGrpSpPr>
        <p:grpSpPr>
          <a:xfrm>
            <a:off x="5476140" y="1399837"/>
            <a:ext cx="904773" cy="904773"/>
            <a:chOff x="2329283" y="5108121"/>
            <a:chExt cx="904773" cy="904773"/>
          </a:xfrm>
        </p:grpSpPr>
        <p:sp>
          <p:nvSpPr>
            <p:cNvPr id="4" name="Oval 3">
              <a:extLst>
                <a:ext uri="{FF2B5EF4-FFF2-40B4-BE49-F238E27FC236}">
                  <a16:creationId xmlns:a16="http://schemas.microsoft.com/office/drawing/2014/main" id="{45E3BBE5-EC6C-60B6-101C-EFFCA8D678C3}"/>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 name="Graphic 4" descr="User with solid fill">
              <a:extLst>
                <a:ext uri="{FF2B5EF4-FFF2-40B4-BE49-F238E27FC236}">
                  <a16:creationId xmlns:a16="http://schemas.microsoft.com/office/drawing/2014/main" id="{9BA9D19D-E56A-FE30-F5EC-735FE847CB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28550" y="5171860"/>
              <a:ext cx="706240" cy="706240"/>
            </a:xfrm>
            <a:prstGeom prst="rect">
              <a:avLst/>
            </a:prstGeom>
          </p:spPr>
        </p:pic>
      </p:grpSp>
    </p:spTree>
    <p:extLst>
      <p:ext uri="{BB962C8B-B14F-4D97-AF65-F5344CB8AC3E}">
        <p14:creationId xmlns:p14="http://schemas.microsoft.com/office/powerpoint/2010/main" val="3248544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CEF9E92-F5EA-929E-089A-77CB316CD4E6}"/>
              </a:ext>
            </a:extLst>
          </p:cNvPr>
          <p:cNvSpPr txBox="1">
            <a:spLocks noGrp="1"/>
          </p:cNvSpPr>
          <p:nvPr>
            <p:ph type="title" idx="4294967295"/>
            <p:custDataLst>
              <p:tags r:id="rId1"/>
            </p:custDataLst>
          </p:nvPr>
        </p:nvSpPr>
        <p:spPr>
          <a:xfrm>
            <a:off x="3880782" y="323021"/>
            <a:ext cx="4430436"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dirty="0">
                <a:ln>
                  <a:noFill/>
                </a:ln>
                <a:solidFill>
                  <a:schemeClr val="tx1"/>
                </a:solidFill>
                <a:effectLst/>
                <a:uLnTx/>
                <a:uFillTx/>
                <a:latin typeface="Calibri"/>
                <a:ea typeface="Calibri"/>
                <a:cs typeface="Calibri"/>
              </a:rPr>
              <a:t>Le poste de travail de John</a:t>
            </a:r>
          </a:p>
        </p:txBody>
      </p:sp>
      <p:sp>
        <p:nvSpPr>
          <p:cNvPr id="4" name="Google Shape;163;p17">
            <a:extLst>
              <a:ext uri="{FF2B5EF4-FFF2-40B4-BE49-F238E27FC236}">
                <a16:creationId xmlns:a16="http://schemas.microsoft.com/office/drawing/2014/main" id="{467DDDC7-7CBB-BC5B-C7E3-CCA15A516CCE}"/>
              </a:ext>
            </a:extLst>
          </p:cNvPr>
          <p:cNvSpPr txBox="1"/>
          <p:nvPr>
            <p:custDataLst>
              <p:tags r:id="rId2"/>
            </p:custDataLst>
          </p:nvPr>
        </p:nvSpPr>
        <p:spPr>
          <a:xfrm>
            <a:off x="1413110" y="2506271"/>
            <a:ext cx="3724947" cy="2675125"/>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John a travaillé à distance à temps plein au plus fort de la pandémie. Lorsqu'il est revenu au bureau, il a trouvé un poste de travail dans un espace peu occupé et s'y est installé : il a mis des collations et des vêtements de rechange dans un tiroir du bureau, et affiché des photos de sa famille aux murs. Personne ne s'est plaint, alors il se dit que c'est correct. </a:t>
            </a:r>
          </a:p>
        </p:txBody>
      </p:sp>
      <p:sp>
        <p:nvSpPr>
          <p:cNvPr id="8" name="TextBox 7">
            <a:extLst>
              <a:ext uri="{FF2B5EF4-FFF2-40B4-BE49-F238E27FC236}">
                <a16:creationId xmlns:a16="http://schemas.microsoft.com/office/drawing/2014/main" id="{D1BB5A4D-1910-BA41-710E-649A068A1729}"/>
              </a:ext>
            </a:extLst>
          </p:cNvPr>
          <p:cNvSpPr txBox="1"/>
          <p:nvPr>
            <p:custDataLst>
              <p:tags r:id="rId3"/>
            </p:custDataLst>
          </p:nvPr>
        </p:nvSpPr>
        <p:spPr>
          <a:xfrm>
            <a:off x="6801152" y="2626851"/>
            <a:ext cx="3628724" cy="2554545"/>
          </a:xfrm>
          <a:prstGeom prst="rect">
            <a:avLst/>
          </a:prstGeom>
          <a:noFill/>
        </p:spPr>
        <p:txBody>
          <a:bodyPr wrap="square" rtlCol="0">
            <a:spAutoFit/>
          </a:bodyPr>
          <a:lstStyle/>
          <a:p>
            <a:r>
              <a:rPr lang="fr-CA" sz="1600" dirty="0">
                <a:latin typeface="Calibri" panose="020F0502020204030204" pitchFamily="34" charset="0"/>
                <a:ea typeface="Calibri" panose="020F0502020204030204" pitchFamily="34" charset="0"/>
                <a:cs typeface="Calibri" panose="020F0502020204030204" pitchFamily="34" charset="0"/>
              </a:rPr>
              <a:t>Si cela n'avait tenu qu'à lui, John aurait gardé son poste de travail. Mais il a compris la nécessité de mettre en place des postes de travail non attribués et s'est senti soutenu par la direction dans cette transition. </a:t>
            </a:r>
          </a:p>
          <a:p>
            <a:r>
              <a:rPr lang="fr-CA" sz="1600" dirty="0">
                <a:latin typeface="Calibri" panose="020F0502020204030204" pitchFamily="34" charset="0"/>
                <a:ea typeface="Calibri" panose="020F0502020204030204" pitchFamily="34" charset="0"/>
                <a:cs typeface="Calibri" panose="020F0502020204030204" pitchFamily="34" charset="0"/>
              </a:rPr>
              <a:t>Il utilise les casiers mis à sa disposition dans l'espace. Il voit davantage ses collègues, ce qui lui permet de se sentir plus engagé dans l'équipe.</a:t>
            </a:r>
          </a:p>
        </p:txBody>
      </p:sp>
      <p:sp>
        <p:nvSpPr>
          <p:cNvPr id="11" name="Arrow: Chevron 10">
            <a:extLst>
              <a:ext uri="{FF2B5EF4-FFF2-40B4-BE49-F238E27FC236}">
                <a16:creationId xmlns:a16="http://schemas.microsoft.com/office/drawing/2014/main" id="{EEBEEEDC-E1F4-8FA3-B8F2-7A671D83EA29}"/>
              </a:ext>
              <a:ext uri="{C183D7F6-B498-43B3-948B-1728B52AA6E4}">
                <adec:decorative xmlns:adec="http://schemas.microsoft.com/office/drawing/2017/decorative" val="1"/>
              </a:ext>
            </a:extLst>
          </p:cNvPr>
          <p:cNvSpPr/>
          <p:nvPr>
            <p:custDataLst>
              <p:tags r:id="rId4"/>
            </p:custDataLst>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sont engagés dans le changement</a:t>
            </a:r>
          </a:p>
        </p:txBody>
      </p:sp>
      <p:sp>
        <p:nvSpPr>
          <p:cNvPr id="12" name="Arrow: Chevron 11">
            <a:extLst>
              <a:ext uri="{FF2B5EF4-FFF2-40B4-BE49-F238E27FC236}">
                <a16:creationId xmlns:a16="http://schemas.microsoft.com/office/drawing/2014/main" id="{685A1C3C-CD95-F23A-428E-43FE69A9432E}"/>
              </a:ext>
              <a:ext uri="{C183D7F6-B498-43B3-948B-1728B52AA6E4}">
                <adec:decorative xmlns:adec="http://schemas.microsoft.com/office/drawing/2017/decorative" val="1"/>
              </a:ext>
            </a:extLst>
          </p:cNvPr>
          <p:cNvSpPr/>
          <p:nvPr>
            <p:custDataLst>
              <p:tags r:id="rId5"/>
            </p:custDataLst>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ne s'engagent pas dans le changement</a:t>
            </a:r>
          </a:p>
        </p:txBody>
      </p:sp>
      <p:grpSp>
        <p:nvGrpSpPr>
          <p:cNvPr id="19" name="Group 18">
            <a:extLst>
              <a:ext uri="{FF2B5EF4-FFF2-40B4-BE49-F238E27FC236}">
                <a16:creationId xmlns:a16="http://schemas.microsoft.com/office/drawing/2014/main" id="{3F576723-1325-39B0-1B3A-219E42A7C930}"/>
              </a:ext>
              <a:ext uri="{C183D7F6-B498-43B3-948B-1728B52AA6E4}">
                <adec:decorative xmlns:adec="http://schemas.microsoft.com/office/drawing/2017/decorative" val="1"/>
              </a:ext>
            </a:extLst>
          </p:cNvPr>
          <p:cNvGrpSpPr/>
          <p:nvPr>
            <p:custDataLst>
              <p:tags r:id="rId6"/>
            </p:custDataLst>
          </p:nvPr>
        </p:nvGrpSpPr>
        <p:grpSpPr>
          <a:xfrm>
            <a:off x="5476139" y="1419188"/>
            <a:ext cx="904773" cy="904773"/>
            <a:chOff x="1294317" y="5153902"/>
            <a:chExt cx="904773" cy="904773"/>
          </a:xfrm>
        </p:grpSpPr>
        <p:sp>
          <p:nvSpPr>
            <p:cNvPr id="20" name="Oval 19">
              <a:extLst>
                <a:ext uri="{FF2B5EF4-FFF2-40B4-BE49-F238E27FC236}">
                  <a16:creationId xmlns:a16="http://schemas.microsoft.com/office/drawing/2014/main" id="{80986B04-35AD-0CC6-9808-00E4D90395CA}"/>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1" name="Graphic 20" descr="User with solid fill">
              <a:extLst>
                <a:ext uri="{FF2B5EF4-FFF2-40B4-BE49-F238E27FC236}">
                  <a16:creationId xmlns:a16="http://schemas.microsoft.com/office/drawing/2014/main" id="{078E8881-7BCD-BFFD-AC84-3A8364E2C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93584" y="5217641"/>
              <a:ext cx="706240" cy="706240"/>
            </a:xfrm>
            <a:prstGeom prst="rect">
              <a:avLst/>
            </a:prstGeom>
          </p:spPr>
        </p:pic>
      </p:grpSp>
    </p:spTree>
    <p:extLst>
      <p:ext uri="{BB962C8B-B14F-4D97-AF65-F5344CB8AC3E}">
        <p14:creationId xmlns:p14="http://schemas.microsoft.com/office/powerpoint/2010/main" val="2239565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custDataLst>
              <p:tags r:id="rId1"/>
            </p:custDataLst>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b="1"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Comment utiliser ce document</a:t>
            </a:r>
          </a:p>
        </p:txBody>
      </p:sp>
      <p:sp>
        <p:nvSpPr>
          <p:cNvPr id="6" name="TextBox 5">
            <a:extLst>
              <a:ext uri="{FF2B5EF4-FFF2-40B4-BE49-F238E27FC236}">
                <a16:creationId xmlns:a16="http://schemas.microsoft.com/office/drawing/2014/main" id="{E721DAC6-2C79-1360-C798-8A813E90139B}"/>
              </a:ext>
            </a:extLst>
          </p:cNvPr>
          <p:cNvSpPr txBox="1"/>
          <p:nvPr>
            <p:custDataLst>
              <p:tags r:id="rId2"/>
            </p:custDataLst>
          </p:nvPr>
        </p:nvSpPr>
        <p:spPr>
          <a:xfrm>
            <a:off x="593651" y="1451247"/>
            <a:ext cx="11021175" cy="2585323"/>
          </a:xfrm>
          <a:prstGeom prst="rect">
            <a:avLst/>
          </a:prstGeom>
          <a:noFill/>
        </p:spPr>
        <p:txBody>
          <a:bodyPr wrap="square">
            <a:spAutoFit/>
          </a:bodyPr>
          <a:lstStyle/>
          <a:p>
            <a:r>
              <a:rPr lang="fr-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POUR QUI :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Document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p</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résenté aux dirigeants (EX-1 et plus) d'une organisation pour les aider à comprendre leur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rôle dans la transition vers de nouvelles politiques en matière d'espaces de bureaux.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Ce document peut également être distribué aux cadres sous la forme d’une présentation.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b="1" dirty="0">
                <a:latin typeface="Calibri Light" panose="020F0302020204030204" pitchFamily="34" charset="0"/>
                <a:ea typeface="Calibri Light" panose="020F0302020204030204" pitchFamily="34" charset="0"/>
                <a:cs typeface="Calibri Light" panose="020F0302020204030204" pitchFamily="34" charset="0"/>
              </a:rPr>
              <a:t>QUAND :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Le plus tôt possible, après l'identification du parrain. </a:t>
            </a:r>
            <a:endPar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b="1" dirty="0">
                <a:latin typeface="Calibri Light" panose="020F0302020204030204" pitchFamily="34" charset="0"/>
                <a:ea typeface="Calibri Light" panose="020F0302020204030204" pitchFamily="34" charset="0"/>
                <a:cs typeface="Calibri Light" panose="020F0302020204030204" pitchFamily="34" charset="0"/>
              </a:rPr>
              <a:t>COMMENT :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Présenté par le parrain exécutif lors des comités exécutifs ou des forums.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accessible ici : </a:t>
            </a: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5"/>
              </a:rPr>
              <a:t>v</a:t>
            </a:r>
            <a:r>
              <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5"/>
              </a:rPr>
              <a:t>ersion EN</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Google Shape;274;p2">
            <a:extLst>
              <a:ext uri="{FF2B5EF4-FFF2-40B4-BE49-F238E27FC236}">
                <a16:creationId xmlns:a16="http://schemas.microsoft.com/office/drawing/2014/main" id="{1BB55E0A-6F72-0999-0ACE-64DCC8775AAC}"/>
              </a:ext>
            </a:extLst>
          </p:cNvPr>
          <p:cNvSpPr txBox="1"/>
          <p:nvPr>
            <p:custDataLst>
              <p:tags r:id="rId3"/>
            </p:custDataLst>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CA"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Directives</a:t>
            </a:r>
            <a:r>
              <a:rPr lang="fr-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 - Retirez cette page avant de l'utiliser</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A3D9691-2EF5-8BFD-F0A0-97FB021A1A74}"/>
              </a:ext>
            </a:extLst>
          </p:cNvPr>
          <p:cNvSpPr txBox="1">
            <a:spLocks noGrp="1"/>
          </p:cNvSpPr>
          <p:nvPr>
            <p:ph type="title" idx="4294967295"/>
            <p:custDataLst>
              <p:tags r:id="rId1"/>
            </p:custDataLst>
          </p:nvPr>
        </p:nvSpPr>
        <p:spPr>
          <a:xfrm>
            <a:off x="4625083" y="228691"/>
            <a:ext cx="2606882"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dirty="0">
                <a:ln>
                  <a:noFill/>
                </a:ln>
                <a:solidFill>
                  <a:schemeClr val="tx1"/>
                </a:solidFill>
                <a:effectLst/>
                <a:uLnTx/>
                <a:uFillTx/>
                <a:latin typeface="Calibri"/>
                <a:ea typeface="Calibri"/>
                <a:cs typeface="Calibri"/>
              </a:rPr>
              <a:t>Bureau de Nina</a:t>
            </a:r>
          </a:p>
        </p:txBody>
      </p:sp>
      <p:sp>
        <p:nvSpPr>
          <p:cNvPr id="8" name="Google Shape;168;p17">
            <a:extLst>
              <a:ext uri="{FF2B5EF4-FFF2-40B4-BE49-F238E27FC236}">
                <a16:creationId xmlns:a16="http://schemas.microsoft.com/office/drawing/2014/main" id="{A9FC7316-1608-7A0F-764B-4353EE47E850}"/>
              </a:ext>
            </a:extLst>
          </p:cNvPr>
          <p:cNvSpPr txBox="1"/>
          <p:nvPr>
            <p:custDataLst>
              <p:tags r:id="rId2"/>
            </p:custDataLst>
          </p:nvPr>
        </p:nvSpPr>
        <p:spPr>
          <a:xfrm>
            <a:off x="1315614" y="2412238"/>
            <a:ext cx="4074774" cy="3388794"/>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Nina a toujours pensé que le fait d’avoir un bureau fermé était la marque de tous les efforts qu'elle avait déployés au cours de sa carrière, et une source de fierté. En tant que cadre dans son organisation, elle avait droit à un bureau fermé avant la pandémie, et elle interprète le modèle de travail hybride commun actuel comme un retour aux normes d'avant la pandémie. Elle a décidé de choisir un espace fermé et d'en faire son bureau permanent. Comme elle voit ses collègues cadres faire de même, elle se dit qu'elle a raison.</a:t>
            </a:r>
          </a:p>
        </p:txBody>
      </p:sp>
      <p:sp>
        <p:nvSpPr>
          <p:cNvPr id="9" name="Google Shape;168;p17">
            <a:extLst>
              <a:ext uri="{FF2B5EF4-FFF2-40B4-BE49-F238E27FC236}">
                <a16:creationId xmlns:a16="http://schemas.microsoft.com/office/drawing/2014/main" id="{124B1481-76CC-FA32-D369-30B4187EED5E}"/>
              </a:ext>
            </a:extLst>
          </p:cNvPr>
          <p:cNvSpPr txBox="1"/>
          <p:nvPr>
            <p:custDataLst>
              <p:tags r:id="rId3"/>
            </p:custDataLst>
          </p:nvPr>
        </p:nvSpPr>
        <p:spPr>
          <a:xfrm>
            <a:off x="6801152" y="2412237"/>
            <a:ext cx="4074774" cy="3870575"/>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Nina comprend que l'absence d’attribution est la nouvelle norme en matière d'espaces de bureaux pour l'ensemble du gouvernement du Canada, quel que soit le modèle de travail hybride actuel. Elle se sent soutenue et entendue par son organisation puisqu’il s’agit d’une transition difficile pour elle. Le fait que </a:t>
            </a:r>
          </a:p>
          <a:p>
            <a:r>
              <a:rPr lang="fr-CA" sz="1600" dirty="0">
                <a:latin typeface="Calibri" panose="020F0502020204030204" pitchFamily="34" charset="0"/>
                <a:ea typeface="Calibri" panose="020F0502020204030204" pitchFamily="34" charset="0"/>
                <a:cs typeface="Calibri" panose="020F0502020204030204" pitchFamily="34" charset="0"/>
                <a:sym typeface="Roboto"/>
              </a:rPr>
              <a:t>tous ses collègues cadres sont dans le même bateau et qu'ils doivent faire face au même changement facilite son adaptation. Étant donné que l’espace de bureaux est vraiment non attribué, elle constate les avantages que cela procure à ses employés, qui ont désormais plus de choix quant à leur point de travail.</a:t>
            </a:r>
          </a:p>
        </p:txBody>
      </p:sp>
      <p:sp>
        <p:nvSpPr>
          <p:cNvPr id="11" name="Arrow: Chevron 10">
            <a:extLst>
              <a:ext uri="{FF2B5EF4-FFF2-40B4-BE49-F238E27FC236}">
                <a16:creationId xmlns:a16="http://schemas.microsoft.com/office/drawing/2014/main" id="{B2D18239-4E11-C0B2-0631-BF29DDACBA2E}"/>
              </a:ext>
              <a:ext uri="{C183D7F6-B498-43B3-948B-1728B52AA6E4}">
                <adec:decorative xmlns:adec="http://schemas.microsoft.com/office/drawing/2017/decorative" val="1"/>
              </a:ext>
            </a:extLst>
          </p:cNvPr>
          <p:cNvSpPr/>
          <p:nvPr>
            <p:custDataLst>
              <p:tags r:id="rId4"/>
            </p:custDataLst>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sont engagés dans le changement</a:t>
            </a:r>
          </a:p>
        </p:txBody>
      </p:sp>
      <p:sp>
        <p:nvSpPr>
          <p:cNvPr id="12" name="Arrow: Chevron 11">
            <a:extLst>
              <a:ext uri="{FF2B5EF4-FFF2-40B4-BE49-F238E27FC236}">
                <a16:creationId xmlns:a16="http://schemas.microsoft.com/office/drawing/2014/main" id="{C8C85D34-1249-5642-ABED-278CF0494204}"/>
              </a:ext>
              <a:ext uri="{C183D7F6-B498-43B3-948B-1728B52AA6E4}">
                <adec:decorative xmlns:adec="http://schemas.microsoft.com/office/drawing/2017/decorative" val="1"/>
              </a:ext>
            </a:extLst>
          </p:cNvPr>
          <p:cNvSpPr/>
          <p:nvPr>
            <p:custDataLst>
              <p:tags r:id="rId5"/>
            </p:custDataLst>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ne s'engagent pas dans le changement</a:t>
            </a:r>
          </a:p>
        </p:txBody>
      </p:sp>
      <p:grpSp>
        <p:nvGrpSpPr>
          <p:cNvPr id="16" name="Group 15">
            <a:extLst>
              <a:ext uri="{FF2B5EF4-FFF2-40B4-BE49-F238E27FC236}">
                <a16:creationId xmlns:a16="http://schemas.microsoft.com/office/drawing/2014/main" id="{FF1EFBF3-D81A-B850-4673-EAECE5408B0F}"/>
              </a:ext>
              <a:ext uri="{C183D7F6-B498-43B3-948B-1728B52AA6E4}">
                <adec:decorative xmlns:adec="http://schemas.microsoft.com/office/drawing/2017/decorative" val="1"/>
              </a:ext>
            </a:extLst>
          </p:cNvPr>
          <p:cNvGrpSpPr/>
          <p:nvPr>
            <p:custDataLst>
              <p:tags r:id="rId6"/>
            </p:custDataLst>
          </p:nvPr>
        </p:nvGrpSpPr>
        <p:grpSpPr>
          <a:xfrm>
            <a:off x="5476138" y="1419187"/>
            <a:ext cx="904773" cy="904773"/>
            <a:chOff x="290278" y="5160334"/>
            <a:chExt cx="904773" cy="904773"/>
          </a:xfrm>
        </p:grpSpPr>
        <p:sp>
          <p:nvSpPr>
            <p:cNvPr id="17" name="Oval 16">
              <a:extLst>
                <a:ext uri="{FF2B5EF4-FFF2-40B4-BE49-F238E27FC236}">
                  <a16:creationId xmlns:a16="http://schemas.microsoft.com/office/drawing/2014/main" id="{BA21A81B-E35B-B8C9-AC72-2CF6A7686DAA}"/>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8" name="Graphic 17" descr="User with solid fill">
              <a:extLst>
                <a:ext uri="{FF2B5EF4-FFF2-40B4-BE49-F238E27FC236}">
                  <a16:creationId xmlns:a16="http://schemas.microsoft.com/office/drawing/2014/main" id="{7A0D6286-5033-298F-3F9E-0816F959D8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4226407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8055C5-C3B2-54D4-BDF8-80FA55C8F1BD}"/>
              </a:ext>
            </a:extLst>
          </p:cNvPr>
          <p:cNvSpPr txBox="1">
            <a:spLocks noGrp="1"/>
          </p:cNvSpPr>
          <p:nvPr>
            <p:ph type="title" idx="4294967295"/>
            <p:custDataLst>
              <p:tags r:id="rId1"/>
            </p:custDataLst>
          </p:nvPr>
        </p:nvSpPr>
        <p:spPr>
          <a:xfrm>
            <a:off x="3487172" y="338016"/>
            <a:ext cx="4882703"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400" b="1" i="0" u="none" strike="noStrike" kern="1200" cap="none" spc="0" normalizeH="0" baseline="0" dirty="0">
                <a:ln>
                  <a:noFill/>
                </a:ln>
                <a:solidFill>
                  <a:schemeClr val="tx1"/>
                </a:solidFill>
                <a:effectLst/>
                <a:uLnTx/>
                <a:uFillTx/>
                <a:latin typeface="Calibri"/>
                <a:ea typeface="Calibri Light"/>
                <a:cs typeface="Calibri Light"/>
              </a:rPr>
              <a:t>L'environnement bruyant de Pascale</a:t>
            </a:r>
            <a:endParaRPr kumimoji="0" lang="fr-CA" sz="2400" b="1" i="0" u="none" strike="noStrike" kern="1200" cap="none" spc="0" normalizeH="0" baseline="0" dirty="0">
              <a:ln>
                <a:noFill/>
              </a:ln>
              <a:solidFill>
                <a:schemeClr val="tx1"/>
              </a:solidFill>
              <a:effectLst/>
              <a:uLnTx/>
              <a:uFillTx/>
              <a:latin typeface="Calibri"/>
              <a:ea typeface="+mn-ea"/>
              <a:cs typeface="+mn-cs"/>
            </a:endParaRPr>
          </a:p>
        </p:txBody>
      </p:sp>
      <p:sp>
        <p:nvSpPr>
          <p:cNvPr id="5" name="Google Shape;174;p17">
            <a:extLst>
              <a:ext uri="{FF2B5EF4-FFF2-40B4-BE49-F238E27FC236}">
                <a16:creationId xmlns:a16="http://schemas.microsoft.com/office/drawing/2014/main" id="{C88249ED-E014-429A-9888-DDF16DFCEC2C}"/>
              </a:ext>
            </a:extLst>
          </p:cNvPr>
          <p:cNvSpPr txBox="1"/>
          <p:nvPr>
            <p:custDataLst>
              <p:tags r:id="rId2"/>
            </p:custDataLst>
          </p:nvPr>
        </p:nvSpPr>
        <p:spPr>
          <a:xfrm>
            <a:off x="1211589" y="2572417"/>
            <a:ext cx="4200239" cy="2885746"/>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Pascale occupe un nouvel espace de bureau depuis trois mois. En principe, l’espace est non attribué, mais son gestionnaire souhaite que tous les employés s'assoient dans le même espace chaque jour, et le directeur général les a autorisés à poser des affiches pour désigner cet espace comme leur « voisinage ». Un de ses collègues est particulièrement bruyant et Pascal a souvent du mal à se concentrer. Les murs de son cubicule lui manquent.</a:t>
            </a:r>
          </a:p>
        </p:txBody>
      </p:sp>
      <p:sp>
        <p:nvSpPr>
          <p:cNvPr id="7" name="Google Shape;174;p17">
            <a:extLst>
              <a:ext uri="{FF2B5EF4-FFF2-40B4-BE49-F238E27FC236}">
                <a16:creationId xmlns:a16="http://schemas.microsoft.com/office/drawing/2014/main" id="{81E7E491-8315-FEE2-966F-E34C46249785}"/>
              </a:ext>
            </a:extLst>
          </p:cNvPr>
          <p:cNvSpPr txBox="1"/>
          <p:nvPr>
            <p:custDataLst>
              <p:tags r:id="rId3"/>
            </p:custDataLst>
          </p:nvPr>
        </p:nvSpPr>
        <p:spPr>
          <a:xfrm>
            <a:off x="6780174" y="2572417"/>
            <a:ext cx="4030970" cy="2421878"/>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L'espace de bureau de Pascale fonctionne comme un véritable espace non attribué. Souvent, elle et ses collègues se retrouvent ensemble, mais elle apprécie aussi d'avoir accès de temps en temps à des espaces plus calmes pour se concentrer. </a:t>
            </a:r>
          </a:p>
        </p:txBody>
      </p:sp>
      <p:sp>
        <p:nvSpPr>
          <p:cNvPr id="11" name="Arrow: Chevron 10">
            <a:extLst>
              <a:ext uri="{FF2B5EF4-FFF2-40B4-BE49-F238E27FC236}">
                <a16:creationId xmlns:a16="http://schemas.microsoft.com/office/drawing/2014/main" id="{049E70DB-C213-D66B-438D-66BF5CEE21D2}"/>
              </a:ext>
              <a:ext uri="{C183D7F6-B498-43B3-948B-1728B52AA6E4}">
                <adec:decorative xmlns:adec="http://schemas.microsoft.com/office/drawing/2017/decorative" val="1"/>
              </a:ext>
            </a:extLst>
          </p:cNvPr>
          <p:cNvSpPr/>
          <p:nvPr>
            <p:custDataLst>
              <p:tags r:id="rId4"/>
            </p:custDataLst>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sont engagés dans le changement</a:t>
            </a:r>
          </a:p>
        </p:txBody>
      </p:sp>
      <p:sp>
        <p:nvSpPr>
          <p:cNvPr id="12" name="Arrow: Chevron 11">
            <a:extLst>
              <a:ext uri="{FF2B5EF4-FFF2-40B4-BE49-F238E27FC236}">
                <a16:creationId xmlns:a16="http://schemas.microsoft.com/office/drawing/2014/main" id="{0F5ECF11-A21D-4775-A59F-D59DD1CA156A}"/>
              </a:ext>
              <a:ext uri="{C183D7F6-B498-43B3-948B-1728B52AA6E4}">
                <adec:decorative xmlns:adec="http://schemas.microsoft.com/office/drawing/2017/decorative" val="1"/>
              </a:ext>
            </a:extLst>
          </p:cNvPr>
          <p:cNvSpPr/>
          <p:nvPr>
            <p:custDataLst>
              <p:tags r:id="rId5"/>
            </p:custDataLst>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ne s'engagent pas dans le changement</a:t>
            </a:r>
          </a:p>
        </p:txBody>
      </p:sp>
      <p:grpSp>
        <p:nvGrpSpPr>
          <p:cNvPr id="16" name="Group 15">
            <a:extLst>
              <a:ext uri="{FF2B5EF4-FFF2-40B4-BE49-F238E27FC236}">
                <a16:creationId xmlns:a16="http://schemas.microsoft.com/office/drawing/2014/main" id="{D49879BF-BD63-02D3-8780-7D6114D30F75}"/>
              </a:ext>
              <a:ext uri="{C183D7F6-B498-43B3-948B-1728B52AA6E4}">
                <adec:decorative xmlns:adec="http://schemas.microsoft.com/office/drawing/2017/decorative" val="1"/>
              </a:ext>
            </a:extLst>
          </p:cNvPr>
          <p:cNvGrpSpPr/>
          <p:nvPr>
            <p:custDataLst>
              <p:tags r:id="rId6"/>
            </p:custDataLst>
          </p:nvPr>
        </p:nvGrpSpPr>
        <p:grpSpPr>
          <a:xfrm>
            <a:off x="5476138" y="1419187"/>
            <a:ext cx="904773" cy="904773"/>
            <a:chOff x="1898923" y="6065107"/>
            <a:chExt cx="904773" cy="904773"/>
          </a:xfrm>
        </p:grpSpPr>
        <p:sp>
          <p:nvSpPr>
            <p:cNvPr id="17" name="Oval 16">
              <a:extLst>
                <a:ext uri="{FF2B5EF4-FFF2-40B4-BE49-F238E27FC236}">
                  <a16:creationId xmlns:a16="http://schemas.microsoft.com/office/drawing/2014/main" id="{158F3CEE-3980-5263-B737-7CC06C369D54}"/>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8" name="Graphic 17" descr="User with solid fill">
              <a:extLst>
                <a:ext uri="{FF2B5EF4-FFF2-40B4-BE49-F238E27FC236}">
                  <a16:creationId xmlns:a16="http://schemas.microsoft.com/office/drawing/2014/main" id="{4570B7FD-ECDD-5F4D-D33C-839BEAE7C4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98189" y="6164373"/>
              <a:ext cx="706240" cy="706240"/>
            </a:xfrm>
            <a:prstGeom prst="rect">
              <a:avLst/>
            </a:prstGeom>
          </p:spPr>
        </p:pic>
      </p:grpSp>
    </p:spTree>
    <p:extLst>
      <p:ext uri="{BB962C8B-B14F-4D97-AF65-F5344CB8AC3E}">
        <p14:creationId xmlns:p14="http://schemas.microsoft.com/office/powerpoint/2010/main" val="502785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custDataLst>
              <p:tags r:id="rId1"/>
            </p:custDataLst>
          </p:nvPr>
        </p:nvSpPr>
        <p:spPr/>
        <p:txBody>
          <a:bodyPr/>
          <a:lstStyle/>
          <a:p>
            <a:r>
              <a:rPr lang="en-CA" dirty="0"/>
              <a:t>Vue d'ensemble</a:t>
            </a:r>
          </a:p>
        </p:txBody>
      </p:sp>
      <p:sp>
        <p:nvSpPr>
          <p:cNvPr id="3" name="TextBox 2">
            <a:extLst>
              <a:ext uri="{FF2B5EF4-FFF2-40B4-BE49-F238E27FC236}">
                <a16:creationId xmlns:a16="http://schemas.microsoft.com/office/drawing/2014/main" id="{CC8B02F3-0C27-03C9-5D56-EC07236B6660}"/>
              </a:ext>
            </a:extLst>
          </p:cNvPr>
          <p:cNvSpPr txBox="1"/>
          <p:nvPr>
            <p:custDataLst>
              <p:tags r:id="rId2"/>
            </p:custDataLst>
          </p:nvPr>
        </p:nvSpPr>
        <p:spPr>
          <a:xfrm>
            <a:off x="508758" y="1713900"/>
            <a:ext cx="11006345" cy="3139321"/>
          </a:xfrm>
          <a:prstGeom prst="rect">
            <a:avLst/>
          </a:prstGeom>
          <a:noFill/>
        </p:spPr>
        <p:txBody>
          <a:bodyPr wrap="square" rtlCol="0">
            <a:spAutoFit/>
          </a:bodyPr>
          <a:lstStyle/>
          <a:p>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Contexte</a:t>
            </a:r>
          </a:p>
          <a:p>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 plan d'optimisation du portefeuille de bureaux du gouvernement</a:t>
            </a:r>
          </a:p>
          <a:p>
            <a:r>
              <a:rPr lang="fr-CA" kern="100" dirty="0">
                <a:latin typeface="Calibri" panose="020F0502020204030204" pitchFamily="34" charset="0"/>
                <a:ea typeface="Calibri" panose="020F0502020204030204" pitchFamily="34" charset="0"/>
                <a:cs typeface="Times New Roman" panose="02020603050405020304" pitchFamily="18" charset="0"/>
              </a:rPr>
              <a:t>Impact sur notre organisation</a:t>
            </a:r>
          </a:p>
          <a:p>
            <a:r>
              <a:rPr lang="fr-CA" kern="100" dirty="0">
                <a:latin typeface="Calibri" panose="020F0502020204030204" pitchFamily="34" charset="0"/>
                <a:ea typeface="Calibri" panose="020F0502020204030204" pitchFamily="34" charset="0"/>
                <a:cs typeface="Times New Roman" panose="02020603050405020304" pitchFamily="18" charset="0"/>
              </a:rPr>
              <a:t>Échéancier</a:t>
            </a:r>
          </a:p>
          <a:p>
            <a:endParaRPr lang="fr-CA" kern="100" dirty="0">
              <a:latin typeface="Calibri" panose="020F0502020204030204" pitchFamily="34" charset="0"/>
              <a:ea typeface="Calibri" panose="020F0502020204030204" pitchFamily="34" charset="0"/>
              <a:cs typeface="Times New Roman" panose="02020603050405020304" pitchFamily="18" charset="0"/>
            </a:endParaRPr>
          </a:p>
          <a:p>
            <a:r>
              <a:rPr lang="fr-CA" b="1" kern="100" dirty="0">
                <a:latin typeface="Calibri" panose="020F0502020204030204" pitchFamily="34" charset="0"/>
                <a:ea typeface="Calibri" panose="020F0502020204030204" pitchFamily="34" charset="0"/>
                <a:cs typeface="Times New Roman" panose="02020603050405020304" pitchFamily="18" charset="0"/>
              </a:rPr>
              <a:t>L’optimisation de notre milieu de travail du point de vue de la gestion du changement</a:t>
            </a:r>
          </a:p>
          <a:p>
            <a:r>
              <a:rPr lang="fr-CA" kern="100" dirty="0">
                <a:latin typeface="Calibri" panose="020F0502020204030204" pitchFamily="34" charset="0"/>
                <a:ea typeface="Calibri" panose="020F0502020204030204" pitchFamily="34" charset="0"/>
                <a:cs typeface="Times New Roman" panose="02020603050405020304" pitchFamily="18" charset="0"/>
              </a:rPr>
              <a:t>Mon rôle de parrain</a:t>
            </a:r>
          </a:p>
          <a:p>
            <a:r>
              <a:rPr lang="fr-CA" kern="100" dirty="0">
                <a:latin typeface="Calibri" panose="020F0502020204030204" pitchFamily="34" charset="0"/>
                <a:ea typeface="Calibri" panose="020F0502020204030204" pitchFamily="34" charset="0"/>
                <a:cs typeface="Times New Roman" panose="02020603050405020304" pitchFamily="18" charset="0"/>
              </a:rPr>
              <a:t>Votre rôle en tant que leader</a:t>
            </a:r>
          </a:p>
          <a:p>
            <a:r>
              <a:rPr lang="fr-CA" kern="100" dirty="0">
                <a:latin typeface="Calibri" panose="020F0502020204030204" pitchFamily="34" charset="0"/>
                <a:ea typeface="Calibri" panose="020F0502020204030204" pitchFamily="34" charset="0"/>
                <a:cs typeface="Times New Roman" panose="02020603050405020304" pitchFamily="18" charset="0"/>
              </a:rPr>
              <a:t>Réactions au changement</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sz="1800" kern="100" dirty="0">
                <a:effectLst/>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008670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F95B0C-A822-FC5E-C664-E6B1A5DC7F01}"/>
              </a:ext>
            </a:extLst>
          </p:cNvPr>
          <p:cNvSpPr>
            <a:spLocks noGrp="1"/>
          </p:cNvSpPr>
          <p:nvPr>
            <p:ph type="title"/>
            <p:custDataLst>
              <p:tags r:id="rId1"/>
            </p:custDataLst>
          </p:nvPr>
        </p:nvSpPr>
        <p:spPr>
          <a:xfrm>
            <a:off x="436489" y="2850262"/>
            <a:ext cx="11115674" cy="939581"/>
          </a:xfrm>
        </p:spPr>
        <p:txBody>
          <a:bodyPr/>
          <a:lstStyle/>
          <a:p>
            <a:r>
              <a:rPr lang="fr-CA"/>
              <a:t>Contexte</a:t>
            </a:r>
          </a:p>
        </p:txBody>
      </p:sp>
    </p:spTree>
    <p:extLst>
      <p:ext uri="{BB962C8B-B14F-4D97-AF65-F5344CB8AC3E}">
        <p14:creationId xmlns:p14="http://schemas.microsoft.com/office/powerpoint/2010/main" val="492946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custDataLst>
              <p:tags r:id="rId1"/>
            </p:custDataLst>
          </p:nvPr>
        </p:nvSpPr>
        <p:spPr/>
        <p:txBody>
          <a:bodyPr>
            <a:normAutofit fontScale="90000"/>
          </a:bodyPr>
          <a:lstStyle/>
          <a:p>
            <a:r>
              <a:rPr lang="fr-CA" dirty="0"/>
              <a:t>Le portefeuille de locaux à bureaux du gouvernement du Canada</a:t>
            </a:r>
          </a:p>
        </p:txBody>
      </p:sp>
      <p:sp>
        <p:nvSpPr>
          <p:cNvPr id="4" name="TextBox 3">
            <a:extLst>
              <a:ext uri="{FF2B5EF4-FFF2-40B4-BE49-F238E27FC236}">
                <a16:creationId xmlns:a16="http://schemas.microsoft.com/office/drawing/2014/main" id="{68B678A6-AB70-F10F-02A3-1109CA22BDB7}"/>
              </a:ext>
            </a:extLst>
          </p:cNvPr>
          <p:cNvSpPr txBox="1"/>
          <p:nvPr>
            <p:custDataLst>
              <p:tags r:id="rId2"/>
            </p:custDataLst>
          </p:nvPr>
        </p:nvSpPr>
        <p:spPr>
          <a:xfrm>
            <a:off x="592827" y="1403352"/>
            <a:ext cx="11006345" cy="3693319"/>
          </a:xfrm>
          <a:prstGeom prst="rect">
            <a:avLst/>
          </a:prstGeom>
          <a:noFill/>
        </p:spPr>
        <p:txBody>
          <a:bodyPr wrap="square" rtlCol="0">
            <a:spAutoFit/>
          </a:bodyPr>
          <a:lstStyle/>
          <a:p>
            <a:r>
              <a:rPr lang="fr-CA" kern="100" dirty="0">
                <a:latin typeface="Calibri" panose="020F0502020204030204" pitchFamily="34" charset="0"/>
                <a:ea typeface="Calibri" panose="020F0502020204030204" pitchFamily="34" charset="0"/>
                <a:cs typeface="Times New Roman" panose="02020603050405020304" pitchFamily="18" charset="0"/>
              </a:rPr>
              <a:t>Dans le budget 2024, le gouvernement du Canada a présenté son plan de conversion des bureaux fédéraux sous-utilisés en logements. Ce plan consiste en partie à réduire son portefeuille de locaux à bureaux de 50 % sur dix ans. Cette optimisation du portefeuille de locaux à bureaux du gouvernement consistera à se départir des espaces sous-utilisés et vacants. En plus d'être une réponse au </a:t>
            </a:r>
            <a:r>
              <a:rPr lang="fr-CA" kern="100" dirty="0">
                <a:latin typeface="Calibri" panose="020F0502020204030204" pitchFamily="34" charset="0"/>
                <a:ea typeface="Calibri" panose="020F0502020204030204" pitchFamily="34" charset="0"/>
                <a:cs typeface="Times New Roman" panose="02020603050405020304" pitchFamily="18" charset="0"/>
                <a:hlinkClick r:id="rId4"/>
              </a:rPr>
              <a:t>modèle de travail hybride commun </a:t>
            </a:r>
            <a:r>
              <a:rPr lang="fr-CA" kern="100" dirty="0">
                <a:latin typeface="Calibri" panose="020F0502020204030204" pitchFamily="34" charset="0"/>
                <a:ea typeface="Calibri" panose="020F0502020204030204" pitchFamily="34" charset="0"/>
                <a:cs typeface="Times New Roman" panose="02020603050405020304" pitchFamily="18" charset="0"/>
              </a:rPr>
              <a:t>du gouvernement, ce plan exige également de mettre en œuvre par défaut des points de travail non attribués dans les espaces de bureaux, ce qui signifie que :</a:t>
            </a:r>
            <a:endParaRPr lang="fr-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s postes de travail ne seront pas attribués.</a:t>
            </a:r>
          </a:p>
          <a:p>
            <a:pPr marL="285750" indent="-285750">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s bureaux fermés seront des salles de concentration ou de réunion, accessibles à tous.</a:t>
            </a:r>
          </a:p>
          <a:p>
            <a:endParaRPr lang="fr-CA" kern="100" dirty="0">
              <a:latin typeface="Calibri" panose="020F0502020204030204" pitchFamily="34" charset="0"/>
              <a:ea typeface="Calibri" panose="020F0502020204030204" pitchFamily="34" charset="0"/>
              <a:cs typeface="Times New Roman" panose="02020603050405020304" pitchFamily="18" charset="0"/>
            </a:endParaRPr>
          </a:p>
          <a:p>
            <a:r>
              <a:rPr lang="fr-CA" kern="100" dirty="0">
                <a:latin typeface="Calibri" panose="020F0502020204030204" pitchFamily="34" charset="0"/>
                <a:ea typeface="Calibri" panose="020F0502020204030204" pitchFamily="34" charset="0"/>
                <a:cs typeface="Times New Roman" panose="02020603050405020304" pitchFamily="18" charset="0"/>
              </a:rPr>
              <a:t>Même si chaque organisation et chaque groupe seront touchés différemment par cette politique, il est important de reconnaître qu'elle pourrait constituer un changement majeur pour notre personnel. Il est important de réfléchir à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votre rôle de leader pour orienter ce changement. </a:t>
            </a:r>
          </a:p>
          <a:p>
            <a:endParaRPr lang="fr-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25183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custDataLst>
              <p:tags r:id="rId1"/>
            </p:custDataLst>
          </p:nvPr>
        </p:nvSpPr>
        <p:spPr/>
        <p:txBody>
          <a:bodyPr>
            <a:normAutofit fontScale="90000"/>
          </a:bodyPr>
          <a:lstStyle/>
          <a:p>
            <a:r>
              <a:rPr lang="fr-CA" dirty="0"/>
              <a:t>Postes de travail non attribués par défaut : L'impact sur le portefeuille de locaux à bureaux du gouvernement du Canada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custDataLst>
              <p:tags r:id="rId2"/>
            </p:custDataLst>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2771065" y="2168083"/>
              <a:ext cx="3374110"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dirty="0">
                  <a:ln>
                    <a:noFill/>
                  </a:ln>
                  <a:solidFill>
                    <a:srgbClr val="000000"/>
                  </a:solidFill>
                  <a:effectLst/>
                  <a:uLnTx/>
                  <a:uFillTx/>
                  <a:latin typeface="Avenir Next LT Pro" panose="020B0504020202020204" pitchFamily="34" charset="0"/>
                </a:rPr>
                <a:t>Postes de travail </a:t>
              </a:r>
              <a:r>
                <a:rPr lang="fr-CA" b="1" dirty="0">
                  <a:solidFill>
                    <a:srgbClr val="000000"/>
                  </a:solidFill>
                  <a:latin typeface="Avenir Next LT Pro" panose="020B0504020202020204" pitchFamily="34" charset="0"/>
                </a:rPr>
                <a:t>attribués</a:t>
              </a:r>
              <a:endParaRPr lang="fr-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6">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custDataLst>
              <p:tags r:id="rId3"/>
            </p:custDataLst>
          </p:nvPr>
        </p:nvGrpSpPr>
        <p:grpSpPr>
          <a:xfrm>
            <a:off x="6324275" y="2007880"/>
            <a:ext cx="4702573" cy="3902512"/>
            <a:chOff x="2306020" y="2139252"/>
            <a:chExt cx="4702573" cy="3902512"/>
          </a:xfrm>
        </p:grpSpPr>
        <p:sp>
          <p:nvSpPr>
            <p:cNvPr id="228" name="TextBox 45">
              <a:extLst>
                <a:ext uri="{FF2B5EF4-FFF2-40B4-BE49-F238E27FC236}">
                  <a16:creationId xmlns:a16="http://schemas.microsoft.com/office/drawing/2014/main" id="{2C5C7B4D-E0D3-2A6C-661D-EE6F09B9B0CD}"/>
                </a:ext>
              </a:extLst>
            </p:cNvPr>
            <p:cNvSpPr txBox="1"/>
            <p:nvPr/>
          </p:nvSpPr>
          <p:spPr>
            <a:xfrm>
              <a:off x="3005004" y="2139252"/>
              <a:ext cx="3551992"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dirty="0">
                  <a:ln>
                    <a:noFill/>
                  </a:ln>
                  <a:solidFill>
                    <a:srgbClr val="000000"/>
                  </a:solidFill>
                  <a:effectLst/>
                  <a:uLnTx/>
                  <a:uFillTx/>
                  <a:latin typeface="Avenir Next LT Pro" panose="020B0504020202020204" pitchFamily="34" charset="0"/>
                </a:rPr>
                <a:t>Postes de travail non attribués</a:t>
              </a:r>
              <a:endParaRPr lang="fr-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6">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custDataLst>
              <p:tags r:id="rId4"/>
            </p:custDataLst>
          </p:nvPr>
        </p:nvSpPr>
        <p:spPr>
          <a:xfrm>
            <a:off x="8860512" y="3402768"/>
            <a:ext cx="1703637" cy="1477328"/>
          </a:xfrm>
          <a:prstGeom prst="rect">
            <a:avLst/>
          </a:prstGeom>
          <a:noFill/>
        </p:spPr>
        <p:txBody>
          <a:bodyPr wrap="square" rtlCol="0">
            <a:spAutoFit/>
          </a:bodyPr>
          <a:lstStyle/>
          <a:p>
            <a:pPr algn="ctr">
              <a:defRPr/>
            </a:pPr>
            <a:r>
              <a:rPr lang="fr-CA" b="1" dirty="0">
                <a:solidFill>
                  <a:srgbClr val="000000"/>
                </a:solidFill>
                <a:latin typeface="Avenir Next LT Pro" panose="020B0504020202020204" pitchFamily="34" charset="0"/>
              </a:rPr>
              <a:t>Édifice libéré avec possibilité de conversion en logements</a:t>
            </a:r>
          </a:p>
        </p:txBody>
      </p:sp>
    </p:spTree>
    <p:extLst>
      <p:ext uri="{BB962C8B-B14F-4D97-AF65-F5344CB8AC3E}">
        <p14:creationId xmlns:p14="http://schemas.microsoft.com/office/powerpoint/2010/main" val="3194185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custDataLst>
              <p:tags r:id="rId1"/>
            </p:custDataLst>
          </p:nvPr>
        </p:nvSpPr>
        <p:spPr/>
        <p:txBody>
          <a:bodyPr>
            <a:normAutofit/>
          </a:bodyPr>
          <a:lstStyle/>
          <a:p>
            <a:r>
              <a:rPr lang="fr-CA" dirty="0"/>
              <a:t>Notre vision</a:t>
            </a:r>
            <a:endParaRPr lang="en-CA" dirty="0"/>
          </a:p>
        </p:txBody>
      </p:sp>
      <p:sp>
        <p:nvSpPr>
          <p:cNvPr id="3" name="ZoneTexte 2">
            <a:extLst>
              <a:ext uri="{FF2B5EF4-FFF2-40B4-BE49-F238E27FC236}">
                <a16:creationId xmlns:a16="http://schemas.microsoft.com/office/drawing/2014/main" id="{E94DD8DC-9FAF-7EEF-A038-3CAF012835F7}"/>
              </a:ext>
            </a:extLst>
          </p:cNvPr>
          <p:cNvSpPr txBox="1"/>
          <p:nvPr>
            <p:custDataLst>
              <p:tags r:id="rId2"/>
            </p:custDataLst>
          </p:nvPr>
        </p:nvSpPr>
        <p:spPr>
          <a:xfrm>
            <a:off x="617838" y="1940011"/>
            <a:ext cx="5955957" cy="369332"/>
          </a:xfrm>
          <a:prstGeom prst="rect">
            <a:avLst/>
          </a:prstGeom>
          <a:noFill/>
        </p:spPr>
        <p:txBody>
          <a:bodyPr wrap="square" rtlCol="0">
            <a:spAutoFit/>
          </a:bodyPr>
          <a:lstStyle/>
          <a:p>
            <a:r>
              <a:rPr lang="fr-CA" dirty="0">
                <a:highlight>
                  <a:srgbClr val="FFFF00"/>
                </a:highlight>
              </a:rPr>
              <a:t>Insérez la vision du projet</a:t>
            </a:r>
          </a:p>
        </p:txBody>
      </p:sp>
    </p:spTree>
    <p:extLst>
      <p:ext uri="{BB962C8B-B14F-4D97-AF65-F5344CB8AC3E}">
        <p14:creationId xmlns:p14="http://schemas.microsoft.com/office/powerpoint/2010/main" val="223308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custDataLst>
              <p:tags r:id="rId1"/>
            </p:custDataLst>
          </p:nvPr>
        </p:nvSpPr>
        <p:spPr/>
        <p:txBody>
          <a:bodyPr>
            <a:normAutofit/>
          </a:bodyPr>
          <a:lstStyle/>
          <a:p>
            <a:r>
              <a:rPr lang="fr-CA" dirty="0"/>
              <a:t>Qu'est-ce que cela signifie pour notre organis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custDataLst>
              <p:tags r:id="rId2"/>
            </p:custDataLst>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17" name="Rectangle 116">
            <a:extLst>
              <a:ext uri="{FF2B5EF4-FFF2-40B4-BE49-F238E27FC236}">
                <a16:creationId xmlns:a16="http://schemas.microsoft.com/office/drawing/2014/main" id="{C9DAC2A6-C89F-2DC3-5552-32890189A83F}"/>
              </a:ext>
            </a:extLst>
          </p:cNvPr>
          <p:cNvSpPr/>
          <p:nvPr>
            <p:custDataLst>
              <p:tags r:id="rId3"/>
            </p:custDataLst>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a:solidFill>
                  <a:schemeClr val="bg1"/>
                </a:solidFill>
                <a:latin typeface="Avenir Next LT Pro" panose="020B0504020202020204" pitchFamily="34" charset="0"/>
              </a:rPr>
              <a:t>Maintenant</a:t>
            </a:r>
            <a:endParaRPr kumimoji="0" lang="fr-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custDataLst>
              <p:tags r:id="rId4"/>
            </p:custDataLst>
          </p:nvPr>
        </p:nvSpPr>
        <p:spPr>
          <a:xfrm>
            <a:off x="791627" y="2303572"/>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Adresse</a:t>
            </a:r>
            <a:endParaRPr lang="fr-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custDataLst>
              <p:tags r:id="rId5"/>
            </p:custDataLst>
          </p:nvPr>
        </p:nvSpPr>
        <p:spPr>
          <a:xfrm>
            <a:off x="791626" y="277970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mbre d'étages</a:t>
            </a: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custDataLst>
              <p:tags r:id="rId6"/>
            </p:custDataLst>
          </p:nvPr>
        </p:nvSpPr>
        <p:spPr>
          <a:xfrm>
            <a:off x="794675" y="3307626"/>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custDataLst>
              <p:tags r:id="rId7"/>
            </p:custDataLst>
          </p:nvPr>
        </p:nvSpPr>
        <p:spPr>
          <a:xfrm>
            <a:off x="940712" y="3473450"/>
            <a:ext cx="1515851" cy="83099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stes de travail 1:1 attribué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custDataLst>
              <p:tags r:id="rId8"/>
            </p:custDataLst>
          </p:nvPr>
        </p:nvPicPr>
        <p:blipFill>
          <a:blip r:embed="rId23" cstate="screen">
            <a:extLst>
              <a:ext uri="{28A0092B-C50C-407E-A947-70E740481C1C}">
                <a14:useLocalDpi xmlns:a14="http://schemas.microsoft.com/office/drawing/2010/main" val="0"/>
              </a:ext>
            </a:extLst>
          </a:blip>
          <a:stretch>
            <a:fillRect/>
          </a:stretch>
        </p:blipFill>
        <p:spPr>
          <a:xfrm>
            <a:off x="3038946" y="3408752"/>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custDataLst>
              <p:tags r:id="rId9"/>
            </p:custDataLst>
          </p:nvPr>
        </p:nvPicPr>
        <p:blipFill>
          <a:blip r:embed="rId24" cstate="screen">
            <a:extLst>
              <a:ext uri="{28A0092B-C50C-407E-A947-70E740481C1C}">
                <a14:useLocalDpi xmlns:a14="http://schemas.microsoft.com/office/drawing/2010/main" val="0"/>
              </a:ext>
            </a:extLst>
          </a:blip>
          <a:stretch>
            <a:fillRect/>
          </a:stretch>
        </p:blipFill>
        <p:spPr>
          <a:xfrm>
            <a:off x="3548894" y="3508463"/>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custDataLst>
              <p:tags r:id="rId10"/>
            </p:custDataLst>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custDataLst>
              <p:tags r:id="rId11"/>
            </p:custDataLst>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18" name="Rectangle 117">
            <a:extLst>
              <a:ext uri="{FF2B5EF4-FFF2-40B4-BE49-F238E27FC236}">
                <a16:creationId xmlns:a16="http://schemas.microsoft.com/office/drawing/2014/main" id="{03606830-0145-BF89-5080-5EDD4851A9CA}"/>
              </a:ext>
            </a:extLst>
          </p:cNvPr>
          <p:cNvSpPr/>
          <p:nvPr>
            <p:custDataLst>
              <p:tags r:id="rId12"/>
            </p:custDataLst>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125" name="Rectangle: Rounded Corners 251">
            <a:extLst>
              <a:ext uri="{FF2B5EF4-FFF2-40B4-BE49-F238E27FC236}">
                <a16:creationId xmlns:a16="http://schemas.microsoft.com/office/drawing/2014/main" id="{C3A1B379-6571-1C49-58FA-89CBE354E722}"/>
              </a:ext>
            </a:extLst>
          </p:cNvPr>
          <p:cNvSpPr/>
          <p:nvPr>
            <p:custDataLst>
              <p:tags r:id="rId13"/>
            </p:custDataLst>
          </p:nvPr>
        </p:nvSpPr>
        <p:spPr>
          <a:xfrm>
            <a:off x="6794647" y="2303572"/>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 adresse</a:t>
            </a:r>
            <a:endParaRPr lang="fr-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custDataLst>
              <p:tags r:id="rId14"/>
            </p:custDataLst>
          </p:nvPr>
        </p:nvSpPr>
        <p:spPr>
          <a:xfrm>
            <a:off x="6794647" y="2775994"/>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uveau nombre d'étages</a:t>
            </a:r>
          </a:p>
        </p:txBody>
      </p:sp>
      <p:sp>
        <p:nvSpPr>
          <p:cNvPr id="132" name="TextBox 156">
            <a:extLst>
              <a:ext uri="{FF2B5EF4-FFF2-40B4-BE49-F238E27FC236}">
                <a16:creationId xmlns:a16="http://schemas.microsoft.com/office/drawing/2014/main" id="{972E62F7-856E-E74B-98EE-589692A22E88}"/>
              </a:ext>
            </a:extLst>
          </p:cNvPr>
          <p:cNvSpPr txBox="1"/>
          <p:nvPr>
            <p:custDataLst>
              <p:tags r:id="rId15"/>
            </p:custDataLst>
          </p:nvPr>
        </p:nvSpPr>
        <p:spPr>
          <a:xfrm>
            <a:off x="7218671" y="3303058"/>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stes de travail non attribués</a:t>
            </a:r>
            <a:endParaRPr lang="fr-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custDataLst>
              <p:tags r:id="rId16"/>
            </p:custDataLst>
          </p:nvPr>
        </p:nvSpPr>
        <p:spPr>
          <a:xfrm>
            <a:off x="6794647" y="3279977"/>
            <a:ext cx="4011117" cy="1470089"/>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custDataLst>
              <p:tags r:id="rId17"/>
            </p:custDataLst>
          </p:nvPr>
        </p:nvPicPr>
        <p:blipFill>
          <a:blip r:embed="rId25" cstate="screen">
            <a:extLst>
              <a:ext uri="{28A0092B-C50C-407E-A947-70E740481C1C}">
                <a14:useLocalDpi xmlns:a14="http://schemas.microsoft.com/office/drawing/2010/main" val="0"/>
              </a:ext>
            </a:extLst>
          </a:blip>
          <a:stretch>
            <a:fillRect/>
          </a:stretch>
        </p:blipFill>
        <p:spPr>
          <a:xfrm>
            <a:off x="9440470" y="3602379"/>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custDataLst>
              <p:tags r:id="rId18"/>
            </p:custDataLst>
          </p:nvPr>
        </p:nvPicPr>
        <p:blipFill>
          <a:blip r:embed="rId26" cstate="screen">
            <a:extLst>
              <a:ext uri="{28A0092B-C50C-407E-A947-70E740481C1C}">
                <a14:useLocalDpi xmlns:a14="http://schemas.microsoft.com/office/drawing/2010/main" val="0"/>
              </a:ext>
            </a:extLst>
          </a:blip>
          <a:stretch>
            <a:fillRect/>
          </a:stretch>
        </p:blipFill>
        <p:spPr>
          <a:xfrm>
            <a:off x="7232063" y="3644323"/>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custDataLst>
              <p:tags r:id="rId19"/>
            </p:custDataLst>
          </p:nvPr>
        </p:nvGrpSpPr>
        <p:grpSpPr>
          <a:xfrm>
            <a:off x="8113238" y="3668039"/>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2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2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2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custDataLst>
              <p:tags r:id="rId20"/>
            </p:custDataLst>
          </p:nvPr>
        </p:nvSpPr>
        <p:spPr>
          <a:xfrm>
            <a:off x="6794647" y="4860175"/>
            <a:ext cx="4092428" cy="1596500"/>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s stratégies d'utilisation du milieu de travail</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Zones tranquilles</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Voisinages</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Système de réservation</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Rangement personnel</a:t>
            </a:r>
          </a:p>
        </p:txBody>
      </p:sp>
    </p:spTree>
    <p:extLst>
      <p:ext uri="{BB962C8B-B14F-4D97-AF65-F5344CB8AC3E}">
        <p14:creationId xmlns:p14="http://schemas.microsoft.com/office/powerpoint/2010/main" val="581567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custDataLst>
              <p:tags r:id="rId1"/>
            </p:custDataLst>
          </p:nvPr>
        </p:nvSpPr>
        <p:spPr>
          <a:xfrm>
            <a:off x="508760" y="557949"/>
            <a:ext cx="11006344" cy="835027"/>
          </a:xfrm>
        </p:spPr>
        <p:txBody>
          <a:bodyPr/>
          <a:lstStyle/>
          <a:p>
            <a:r>
              <a:rPr lang="fr-CA" dirty="0"/>
              <a:t>Échéancier</a:t>
            </a:r>
          </a:p>
        </p:txBody>
      </p:sp>
      <p:sp>
        <p:nvSpPr>
          <p:cNvPr id="59" name="ZoneTexte 58">
            <a:extLst>
              <a:ext uri="{FF2B5EF4-FFF2-40B4-BE49-F238E27FC236}">
                <a16:creationId xmlns:a16="http://schemas.microsoft.com/office/drawing/2014/main" id="{9EEF3366-3763-B493-96F0-E3984E5F4223}"/>
              </a:ext>
            </a:extLst>
          </p:cNvPr>
          <p:cNvSpPr txBox="1"/>
          <p:nvPr>
            <p:custDataLst>
              <p:tags r:id="rId2"/>
            </p:custDataLst>
          </p:nvPr>
        </p:nvSpPr>
        <p:spPr>
          <a:xfrm>
            <a:off x="273788" y="2690409"/>
            <a:ext cx="2554103" cy="646331"/>
          </a:xfrm>
          <a:prstGeom prst="rect">
            <a:avLst/>
          </a:prstGeom>
          <a:noFill/>
        </p:spPr>
        <p:txBody>
          <a:bodyPr wrap="square" rtlCol="0">
            <a:spAutoFit/>
          </a:bodyPr>
          <a:lstStyle/>
          <a:p>
            <a:r>
              <a:rPr lang="fr-CA" dirty="0"/>
              <a:t>Communications en continu</a:t>
            </a:r>
          </a:p>
        </p:txBody>
      </p:sp>
      <p:sp>
        <p:nvSpPr>
          <p:cNvPr id="47" name="ZoneTexte 46">
            <a:extLst>
              <a:ext uri="{FF2B5EF4-FFF2-40B4-BE49-F238E27FC236}">
                <a16:creationId xmlns:a16="http://schemas.microsoft.com/office/drawing/2014/main" id="{6F061153-9151-0D2F-6C2F-16E75EEC8F0B}"/>
              </a:ext>
            </a:extLst>
          </p:cNvPr>
          <p:cNvSpPr txBox="1"/>
          <p:nvPr>
            <p:custDataLst>
              <p:tags r:id="rId3"/>
            </p:custDataLst>
          </p:nvPr>
        </p:nvSpPr>
        <p:spPr>
          <a:xfrm>
            <a:off x="1512935" y="5455468"/>
            <a:ext cx="1689032" cy="369332"/>
          </a:xfrm>
          <a:prstGeom prst="rect">
            <a:avLst/>
          </a:prstGeom>
          <a:noFill/>
        </p:spPr>
        <p:txBody>
          <a:bodyPr wrap="square" rtlCol="0">
            <a:spAutoFit/>
          </a:bodyPr>
          <a:lstStyle/>
          <a:p>
            <a:r>
              <a:rPr lang="fr-CA" dirty="0"/>
              <a:t>Date ou mois</a:t>
            </a:r>
          </a:p>
        </p:txBody>
      </p:sp>
      <p:sp>
        <p:nvSpPr>
          <p:cNvPr id="48" name="ZoneTexte 47">
            <a:extLst>
              <a:ext uri="{FF2B5EF4-FFF2-40B4-BE49-F238E27FC236}">
                <a16:creationId xmlns:a16="http://schemas.microsoft.com/office/drawing/2014/main" id="{6B16CA0D-CB1F-D6ED-89BE-F6616AE840BF}"/>
              </a:ext>
            </a:extLst>
          </p:cNvPr>
          <p:cNvSpPr txBox="1"/>
          <p:nvPr>
            <p:custDataLst>
              <p:tags r:id="rId4"/>
            </p:custDataLst>
          </p:nvPr>
        </p:nvSpPr>
        <p:spPr>
          <a:xfrm>
            <a:off x="1257300" y="5770154"/>
            <a:ext cx="2063105" cy="646331"/>
          </a:xfrm>
          <a:prstGeom prst="rect">
            <a:avLst/>
          </a:prstGeom>
          <a:noFill/>
        </p:spPr>
        <p:txBody>
          <a:bodyPr wrap="square" rtlCol="0">
            <a:spAutoFit/>
          </a:bodyPr>
          <a:lstStyle/>
          <a:p>
            <a:pPr algn="ctr"/>
            <a:r>
              <a:rPr lang="fr-CA" b="1" dirty="0"/>
              <a:t>Réunion de tout le personnel</a:t>
            </a:r>
          </a:p>
        </p:txBody>
      </p:sp>
      <p:sp>
        <p:nvSpPr>
          <p:cNvPr id="51" name="ZoneTexte 50">
            <a:extLst>
              <a:ext uri="{FF2B5EF4-FFF2-40B4-BE49-F238E27FC236}">
                <a16:creationId xmlns:a16="http://schemas.microsoft.com/office/drawing/2014/main" id="{F808FB0B-95FB-588D-74D4-560CE24F641C}"/>
              </a:ext>
            </a:extLst>
          </p:cNvPr>
          <p:cNvSpPr txBox="1"/>
          <p:nvPr>
            <p:custDataLst>
              <p:tags r:id="rId5"/>
            </p:custDataLst>
          </p:nvPr>
        </p:nvSpPr>
        <p:spPr>
          <a:xfrm>
            <a:off x="3317914" y="1303026"/>
            <a:ext cx="1689032" cy="369332"/>
          </a:xfrm>
          <a:prstGeom prst="rect">
            <a:avLst/>
          </a:prstGeom>
          <a:noFill/>
        </p:spPr>
        <p:txBody>
          <a:bodyPr wrap="square" rtlCol="0">
            <a:spAutoFit/>
          </a:bodyPr>
          <a:lstStyle/>
          <a:p>
            <a:r>
              <a:rPr lang="fr-CA" dirty="0"/>
              <a:t>Date ou mois</a:t>
            </a:r>
          </a:p>
        </p:txBody>
      </p:sp>
      <p:sp>
        <p:nvSpPr>
          <p:cNvPr id="52" name="ZoneTexte 51">
            <a:extLst>
              <a:ext uri="{FF2B5EF4-FFF2-40B4-BE49-F238E27FC236}">
                <a16:creationId xmlns:a16="http://schemas.microsoft.com/office/drawing/2014/main" id="{FB1CCAB6-4244-F5C1-D619-C44E7D9FA0E1}"/>
              </a:ext>
            </a:extLst>
          </p:cNvPr>
          <p:cNvSpPr txBox="1"/>
          <p:nvPr>
            <p:custDataLst>
              <p:tags r:id="rId6"/>
            </p:custDataLst>
          </p:nvPr>
        </p:nvSpPr>
        <p:spPr>
          <a:xfrm>
            <a:off x="2608869" y="1603988"/>
            <a:ext cx="2756732" cy="646331"/>
          </a:xfrm>
          <a:prstGeom prst="rect">
            <a:avLst/>
          </a:prstGeom>
          <a:noFill/>
        </p:spPr>
        <p:txBody>
          <a:bodyPr wrap="square" rtlCol="0">
            <a:spAutoFit/>
          </a:bodyPr>
          <a:lstStyle/>
          <a:p>
            <a:pPr algn="ctr"/>
            <a:r>
              <a:rPr lang="fr-CA" b="1" dirty="0"/>
              <a:t>Retrait des biens personnels et organisationnels</a:t>
            </a:r>
          </a:p>
        </p:txBody>
      </p:sp>
      <p:sp>
        <p:nvSpPr>
          <p:cNvPr id="53" name="ZoneTexte 52">
            <a:extLst>
              <a:ext uri="{FF2B5EF4-FFF2-40B4-BE49-F238E27FC236}">
                <a16:creationId xmlns:a16="http://schemas.microsoft.com/office/drawing/2014/main" id="{77D85CA5-B859-31BE-A852-18BCBED95D02}"/>
              </a:ext>
            </a:extLst>
          </p:cNvPr>
          <p:cNvSpPr txBox="1"/>
          <p:nvPr>
            <p:custDataLst>
              <p:tags r:id="rId7"/>
            </p:custDataLst>
          </p:nvPr>
        </p:nvSpPr>
        <p:spPr>
          <a:xfrm>
            <a:off x="5104730" y="5472545"/>
            <a:ext cx="1689032" cy="369332"/>
          </a:xfrm>
          <a:prstGeom prst="rect">
            <a:avLst/>
          </a:prstGeom>
          <a:noFill/>
        </p:spPr>
        <p:txBody>
          <a:bodyPr wrap="square" rtlCol="0">
            <a:spAutoFit/>
          </a:bodyPr>
          <a:lstStyle/>
          <a:p>
            <a:r>
              <a:rPr lang="fr-CA" dirty="0"/>
              <a:t>Date ou mois</a:t>
            </a:r>
          </a:p>
        </p:txBody>
      </p:sp>
      <p:sp>
        <p:nvSpPr>
          <p:cNvPr id="54" name="ZoneTexte 53">
            <a:extLst>
              <a:ext uri="{FF2B5EF4-FFF2-40B4-BE49-F238E27FC236}">
                <a16:creationId xmlns:a16="http://schemas.microsoft.com/office/drawing/2014/main" id="{D1AF6197-0772-06C0-D39E-B685CA3A6EAD}"/>
              </a:ext>
            </a:extLst>
          </p:cNvPr>
          <p:cNvSpPr txBox="1"/>
          <p:nvPr>
            <p:custDataLst>
              <p:tags r:id="rId8"/>
            </p:custDataLst>
          </p:nvPr>
        </p:nvSpPr>
        <p:spPr>
          <a:xfrm>
            <a:off x="4400839" y="5734911"/>
            <a:ext cx="2756732" cy="646331"/>
          </a:xfrm>
          <a:prstGeom prst="rect">
            <a:avLst/>
          </a:prstGeom>
          <a:noFill/>
        </p:spPr>
        <p:txBody>
          <a:bodyPr wrap="square" rtlCol="0">
            <a:spAutoFit/>
          </a:bodyPr>
          <a:lstStyle/>
          <a:p>
            <a:pPr algn="ctr"/>
            <a:r>
              <a:rPr lang="fr-CA" b="1" dirty="0"/>
              <a:t>Activités d’orientation et de familiarisation</a:t>
            </a:r>
          </a:p>
        </p:txBody>
      </p:sp>
      <p:sp>
        <p:nvSpPr>
          <p:cNvPr id="56" name="ZoneTexte 55">
            <a:extLst>
              <a:ext uri="{FF2B5EF4-FFF2-40B4-BE49-F238E27FC236}">
                <a16:creationId xmlns:a16="http://schemas.microsoft.com/office/drawing/2014/main" id="{ACA4AAD1-FCBE-4C24-0B3D-DE15D577F00F}"/>
              </a:ext>
            </a:extLst>
          </p:cNvPr>
          <p:cNvSpPr txBox="1"/>
          <p:nvPr>
            <p:custDataLst>
              <p:tags r:id="rId9"/>
            </p:custDataLst>
          </p:nvPr>
        </p:nvSpPr>
        <p:spPr>
          <a:xfrm>
            <a:off x="6784018" y="1309675"/>
            <a:ext cx="1689032" cy="369332"/>
          </a:xfrm>
          <a:prstGeom prst="rect">
            <a:avLst/>
          </a:prstGeom>
          <a:noFill/>
        </p:spPr>
        <p:txBody>
          <a:bodyPr wrap="square" rtlCol="0">
            <a:spAutoFit/>
          </a:bodyPr>
          <a:lstStyle/>
          <a:p>
            <a:r>
              <a:rPr lang="fr-CA" dirty="0"/>
              <a:t>Date ou mois</a:t>
            </a:r>
          </a:p>
        </p:txBody>
      </p:sp>
      <p:sp>
        <p:nvSpPr>
          <p:cNvPr id="55" name="ZoneTexte 54">
            <a:extLst>
              <a:ext uri="{FF2B5EF4-FFF2-40B4-BE49-F238E27FC236}">
                <a16:creationId xmlns:a16="http://schemas.microsoft.com/office/drawing/2014/main" id="{7A1A59FF-8821-4234-BA1F-86BE5197E628}"/>
              </a:ext>
            </a:extLst>
          </p:cNvPr>
          <p:cNvSpPr txBox="1"/>
          <p:nvPr>
            <p:custDataLst>
              <p:tags r:id="rId10"/>
            </p:custDataLst>
          </p:nvPr>
        </p:nvSpPr>
        <p:spPr>
          <a:xfrm>
            <a:off x="5670790" y="1585937"/>
            <a:ext cx="4030720" cy="923330"/>
          </a:xfrm>
          <a:prstGeom prst="rect">
            <a:avLst/>
          </a:prstGeom>
          <a:noFill/>
        </p:spPr>
        <p:txBody>
          <a:bodyPr wrap="square" rtlCol="0">
            <a:spAutoFit/>
          </a:bodyPr>
          <a:lstStyle/>
          <a:p>
            <a:pPr algn="ctr"/>
            <a:r>
              <a:rPr lang="fr-CA" b="1" dirty="0">
                <a:highlight>
                  <a:srgbClr val="FFFF00"/>
                </a:highlight>
              </a:rPr>
              <a:t>Déménagement </a:t>
            </a:r>
            <a:r>
              <a:rPr lang="fr-CA" b="1" i="1" dirty="0">
                <a:highlight>
                  <a:srgbClr val="FFFF00"/>
                </a:highlight>
              </a:rPr>
              <a:t>ou </a:t>
            </a:r>
            <a:r>
              <a:rPr lang="fr-CA" b="1" dirty="0">
                <a:highlight>
                  <a:srgbClr val="FFFF00"/>
                </a:highlight>
              </a:rPr>
              <a:t>mise en œuvre d’un milieu de travail optimisé </a:t>
            </a:r>
            <a:r>
              <a:rPr lang="fr-CA" b="1" dirty="0"/>
              <a:t>et de nouvelles stratégies d'utilisation</a:t>
            </a:r>
          </a:p>
        </p:txBody>
      </p:sp>
      <p:sp>
        <p:nvSpPr>
          <p:cNvPr id="58" name="ZoneTexte 57">
            <a:extLst>
              <a:ext uri="{FF2B5EF4-FFF2-40B4-BE49-F238E27FC236}">
                <a16:creationId xmlns:a16="http://schemas.microsoft.com/office/drawing/2014/main" id="{62D48345-9A67-33B9-271D-D2722B58526B}"/>
              </a:ext>
            </a:extLst>
          </p:cNvPr>
          <p:cNvSpPr txBox="1"/>
          <p:nvPr>
            <p:custDataLst>
              <p:tags r:id="rId11"/>
            </p:custDataLst>
          </p:nvPr>
        </p:nvSpPr>
        <p:spPr>
          <a:xfrm>
            <a:off x="8714243" y="5410907"/>
            <a:ext cx="1689032" cy="369332"/>
          </a:xfrm>
          <a:prstGeom prst="rect">
            <a:avLst/>
          </a:prstGeom>
          <a:noFill/>
        </p:spPr>
        <p:txBody>
          <a:bodyPr wrap="square" rtlCol="0">
            <a:spAutoFit/>
          </a:bodyPr>
          <a:lstStyle/>
          <a:p>
            <a:r>
              <a:rPr lang="fr-CA" dirty="0"/>
              <a:t>Date ou mois</a:t>
            </a:r>
          </a:p>
        </p:txBody>
      </p:sp>
      <p:sp>
        <p:nvSpPr>
          <p:cNvPr id="57" name="ZoneTexte 56">
            <a:extLst>
              <a:ext uri="{FF2B5EF4-FFF2-40B4-BE49-F238E27FC236}">
                <a16:creationId xmlns:a16="http://schemas.microsoft.com/office/drawing/2014/main" id="{80C64189-743E-1D6F-BC38-898A98A32465}"/>
              </a:ext>
            </a:extLst>
          </p:cNvPr>
          <p:cNvSpPr txBox="1"/>
          <p:nvPr>
            <p:custDataLst>
              <p:tags r:id="rId12"/>
            </p:custDataLst>
          </p:nvPr>
        </p:nvSpPr>
        <p:spPr>
          <a:xfrm>
            <a:off x="7877094" y="5640134"/>
            <a:ext cx="3034194" cy="646331"/>
          </a:xfrm>
          <a:prstGeom prst="rect">
            <a:avLst/>
          </a:prstGeom>
          <a:noFill/>
        </p:spPr>
        <p:txBody>
          <a:bodyPr wrap="square" rtlCol="0">
            <a:spAutoFit/>
          </a:bodyPr>
          <a:lstStyle/>
          <a:p>
            <a:pPr algn="ctr"/>
            <a:r>
              <a:rPr lang="fr-CA" b="1" dirty="0"/>
              <a:t>Sondage, ajustements et renforcement</a:t>
            </a:r>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custDataLst>
              <p:tags r:id="rId13"/>
            </p:custDataLst>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custDataLst>
              <p:tags r:id="rId14"/>
            </p:custDataLst>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custDataLst>
              <p:tags r:id="rId15"/>
            </p:custDataLst>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custDataLst>
              <p:tags r:id="rId16"/>
            </p:custDataLst>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custDataLst>
              <p:tags r:id="rId17"/>
            </p:custDataLst>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custDataLst>
              <p:tags r:id="rId18"/>
            </p:custDataLst>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custDataLst>
              <p:tags r:id="rId19"/>
            </p:custDataLst>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custDataLst>
              <p:tags r:id="rId20"/>
            </p:custDataLst>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custDataLst>
              <p:tags r:id="rId21"/>
            </p:custDataLst>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custDataLst>
              <p:tags r:id="rId22"/>
            </p:custDataLst>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custDataLst>
              <p:tags r:id="rId23"/>
            </p:custDataLst>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custDataLst>
              <p:tags r:id="rId24"/>
            </p:custDataLst>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custDataLst>
              <p:tags r:id="rId25"/>
            </p:custDataLst>
          </p:nvPr>
        </p:nvCxnSpPr>
        <p:spPr>
          <a:xfrm>
            <a:off x="4026358" y="2326028"/>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custDataLst>
              <p:tags r:id="rId26"/>
            </p:custDataLst>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custDataLst>
              <p:tags r:id="rId27"/>
            </p:custDataLst>
          </p:nvPr>
        </p:nvSpPr>
        <p:spPr>
          <a:xfrm>
            <a:off x="3923190" y="2195296"/>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custDataLst>
              <p:tags r:id="rId28"/>
            </p:custDataLst>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custDataLst>
              <p:tags r:id="rId29"/>
            </p:custDataLst>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custDataLst>
              <p:tags r:id="rId30"/>
            </p:custDataLst>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custDataLst>
              <p:tags r:id="rId31"/>
            </p:custDataLst>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custDataLst>
              <p:tags r:id="rId32"/>
            </p:custDataLst>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custDataLst>
              <p:tags r:id="rId33"/>
            </p:custDataLst>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custDataLst>
              <p:tags r:id="rId34"/>
            </p:custDataLst>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custDataLst>
              <p:tags r:id="rId35"/>
            </p:custDataLst>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custDataLst>
              <p:tags r:id="rId36"/>
            </p:custDataLst>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custDataLst>
              <p:tags r:id="rId37"/>
            </p:custDataLst>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custDataLst>
              <p:tags r:id="rId38"/>
            </p:custDataLst>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custDataLst>
              <p:tags r:id="rId39"/>
            </p:custDataLst>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custDataLst>
              <p:tags r:id="rId40"/>
            </p:custDataLst>
          </p:nvPr>
        </p:nvCxnSpPr>
        <p:spPr>
          <a:xfrm>
            <a:off x="7597363" y="2509267"/>
            <a:ext cx="0" cy="85156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custDataLst>
              <p:tags r:id="rId41"/>
            </p:custDataLst>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custDataLst>
              <p:tags r:id="rId42"/>
            </p:custDataLst>
          </p:nvPr>
        </p:nvSpPr>
        <p:spPr>
          <a:xfrm>
            <a:off x="7510392" y="2362243"/>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custDataLst>
              <p:tags r:id="rId43"/>
            </p:custDataLst>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custDataLst>
              <p:tags r:id="rId44"/>
            </p:custDataLst>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custDataLst>
              <p:tags r:id="rId45"/>
            </p:custDataLst>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custDataLst>
              <p:tags r:id="rId46"/>
            </p:custDataLst>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custDataLst>
              <p:tags r:id="rId47"/>
            </p:custDataLst>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custDataLst>
              <p:tags r:id="rId48"/>
            </p:custDataLst>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custDataLst>
              <p:tags r:id="rId49"/>
            </p:custDataLst>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custDataLst>
              <p:tags r:id="rId50"/>
            </p:custDataLst>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custDataLst>
              <p:tags r:id="rId51"/>
            </p:custDataLst>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custDataLst>
              <p:tags r:id="rId52"/>
            </p:custDataLst>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custDataLst>
              <p:tags r:id="rId53"/>
            </p:custDataLst>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custDataLst>
              <p:tags r:id="rId54"/>
            </p:custDataLst>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65673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00.xml><?xml version="1.0" encoding="utf-8"?>
<p:tagLst xmlns:a="http://schemas.openxmlformats.org/drawingml/2006/main" xmlns:r="http://schemas.openxmlformats.org/officeDocument/2006/relationships" xmlns:p="http://schemas.openxmlformats.org/presentationml/2006/main">
  <p:tag name="NUM" val="49"/>
</p:tagLst>
</file>

<file path=ppt/tags/tag101.xml><?xml version="1.0" encoding="utf-8"?>
<p:tagLst xmlns:a="http://schemas.openxmlformats.org/drawingml/2006/main" xmlns:r="http://schemas.openxmlformats.org/officeDocument/2006/relationships" xmlns:p="http://schemas.openxmlformats.org/presentationml/2006/main">
  <p:tag name="NUM" val="50"/>
</p:tagLst>
</file>

<file path=ppt/tags/tag102.xml><?xml version="1.0" encoding="utf-8"?>
<p:tagLst xmlns:a="http://schemas.openxmlformats.org/drawingml/2006/main" xmlns:r="http://schemas.openxmlformats.org/officeDocument/2006/relationships" xmlns:p="http://schemas.openxmlformats.org/presentationml/2006/main">
  <p:tag name="NUM" val="51"/>
</p:tagLst>
</file>

<file path=ppt/tags/tag103.xml><?xml version="1.0" encoding="utf-8"?>
<p:tagLst xmlns:a="http://schemas.openxmlformats.org/drawingml/2006/main" xmlns:r="http://schemas.openxmlformats.org/officeDocument/2006/relationships" xmlns:p="http://schemas.openxmlformats.org/presentationml/2006/main">
  <p:tag name="NUM" val="52"/>
</p:tagLst>
</file>

<file path=ppt/tags/tag104.xml><?xml version="1.0" encoding="utf-8"?>
<p:tagLst xmlns:a="http://schemas.openxmlformats.org/drawingml/2006/main" xmlns:r="http://schemas.openxmlformats.org/officeDocument/2006/relationships" xmlns:p="http://schemas.openxmlformats.org/presentationml/2006/main">
  <p:tag name="NUM" val="53"/>
</p:tagLst>
</file>

<file path=ppt/tags/tag105.xml><?xml version="1.0" encoding="utf-8"?>
<p:tagLst xmlns:a="http://schemas.openxmlformats.org/drawingml/2006/main" xmlns:r="http://schemas.openxmlformats.org/officeDocument/2006/relationships" xmlns:p="http://schemas.openxmlformats.org/presentationml/2006/main">
  <p:tag name="NUM" val="54"/>
</p:tagLst>
</file>

<file path=ppt/tags/tag106.xml><?xml version="1.0" encoding="utf-8"?>
<p:tagLst xmlns:a="http://schemas.openxmlformats.org/drawingml/2006/main" xmlns:r="http://schemas.openxmlformats.org/officeDocument/2006/relationships" xmlns:p="http://schemas.openxmlformats.org/presentationml/2006/main">
  <p:tag name="NUM" val="1"/>
</p:tagLst>
</file>

<file path=ppt/tags/tag107.xml><?xml version="1.0" encoding="utf-8"?>
<p:tagLst xmlns:a="http://schemas.openxmlformats.org/drawingml/2006/main" xmlns:r="http://schemas.openxmlformats.org/officeDocument/2006/relationships" xmlns:p="http://schemas.openxmlformats.org/presentationml/2006/main">
  <p:tag name="NUM" val="1"/>
</p:tagLst>
</file>

<file path=ppt/tags/tag108.xml><?xml version="1.0" encoding="utf-8"?>
<p:tagLst xmlns:a="http://schemas.openxmlformats.org/drawingml/2006/main" xmlns:r="http://schemas.openxmlformats.org/officeDocument/2006/relationships" xmlns:p="http://schemas.openxmlformats.org/presentationml/2006/main">
  <p:tag name="NUM" val="2"/>
</p:tagLst>
</file>

<file path=ppt/tags/tag109.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10.xml><?xml version="1.0" encoding="utf-8"?>
<p:tagLst xmlns:a="http://schemas.openxmlformats.org/drawingml/2006/main" xmlns:r="http://schemas.openxmlformats.org/officeDocument/2006/relationships" xmlns:p="http://schemas.openxmlformats.org/presentationml/2006/main">
  <p:tag name="NUM" val="1"/>
</p:tagLst>
</file>

<file path=ppt/tags/tag111.xml><?xml version="1.0" encoding="utf-8"?>
<p:tagLst xmlns:a="http://schemas.openxmlformats.org/drawingml/2006/main" xmlns:r="http://schemas.openxmlformats.org/officeDocument/2006/relationships" xmlns:p="http://schemas.openxmlformats.org/presentationml/2006/main">
  <p:tag name="NUM" val="2"/>
</p:tagLst>
</file>

<file path=ppt/tags/tag112.xml><?xml version="1.0" encoding="utf-8"?>
<p:tagLst xmlns:a="http://schemas.openxmlformats.org/drawingml/2006/main" xmlns:r="http://schemas.openxmlformats.org/officeDocument/2006/relationships" xmlns:p="http://schemas.openxmlformats.org/presentationml/2006/main">
  <p:tag name="NUM" val="3"/>
</p:tagLst>
</file>

<file path=ppt/tags/tag113.xml><?xml version="1.0" encoding="utf-8"?>
<p:tagLst xmlns:a="http://schemas.openxmlformats.org/drawingml/2006/main" xmlns:r="http://schemas.openxmlformats.org/officeDocument/2006/relationships" xmlns:p="http://schemas.openxmlformats.org/presentationml/2006/main">
  <p:tag name="NUM" val="1"/>
</p:tagLst>
</file>

<file path=ppt/tags/tag114.xml><?xml version="1.0" encoding="utf-8"?>
<p:tagLst xmlns:a="http://schemas.openxmlformats.org/drawingml/2006/main" xmlns:r="http://schemas.openxmlformats.org/officeDocument/2006/relationships" xmlns:p="http://schemas.openxmlformats.org/presentationml/2006/main">
  <p:tag name="NUM" val="2"/>
</p:tagLst>
</file>

<file path=ppt/tags/tag115.xml><?xml version="1.0" encoding="utf-8"?>
<p:tagLst xmlns:a="http://schemas.openxmlformats.org/drawingml/2006/main" xmlns:r="http://schemas.openxmlformats.org/officeDocument/2006/relationships" xmlns:p="http://schemas.openxmlformats.org/presentationml/2006/main">
  <p:tag name="NUM" val="3"/>
</p:tagLst>
</file>

<file path=ppt/tags/tag116.xml><?xml version="1.0" encoding="utf-8"?>
<p:tagLst xmlns:a="http://schemas.openxmlformats.org/drawingml/2006/main" xmlns:r="http://schemas.openxmlformats.org/officeDocument/2006/relationships" xmlns:p="http://schemas.openxmlformats.org/presentationml/2006/main">
  <p:tag name="NUM" val="1"/>
</p:tagLst>
</file>

<file path=ppt/tags/tag117.xml><?xml version="1.0" encoding="utf-8"?>
<p:tagLst xmlns:a="http://schemas.openxmlformats.org/drawingml/2006/main" xmlns:r="http://schemas.openxmlformats.org/officeDocument/2006/relationships" xmlns:p="http://schemas.openxmlformats.org/presentationml/2006/main">
  <p:tag name="NUM" val="2"/>
</p:tagLst>
</file>

<file path=ppt/tags/tag118.xml><?xml version="1.0" encoding="utf-8"?>
<p:tagLst xmlns:a="http://schemas.openxmlformats.org/drawingml/2006/main" xmlns:r="http://schemas.openxmlformats.org/officeDocument/2006/relationships" xmlns:p="http://schemas.openxmlformats.org/presentationml/2006/main">
  <p:tag name="NUM" val="3"/>
</p:tagLst>
</file>

<file path=ppt/tags/tag119.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NUM" val="1"/>
</p:tagLst>
</file>

<file path=ppt/tags/tag121.xml><?xml version="1.0" encoding="utf-8"?>
<p:tagLst xmlns:a="http://schemas.openxmlformats.org/drawingml/2006/main" xmlns:r="http://schemas.openxmlformats.org/officeDocument/2006/relationships" xmlns:p="http://schemas.openxmlformats.org/presentationml/2006/main">
  <p:tag name="NUM" val="2"/>
</p:tagLst>
</file>

<file path=ppt/tags/tag122.xml><?xml version="1.0" encoding="utf-8"?>
<p:tagLst xmlns:a="http://schemas.openxmlformats.org/drawingml/2006/main" xmlns:r="http://schemas.openxmlformats.org/officeDocument/2006/relationships" xmlns:p="http://schemas.openxmlformats.org/presentationml/2006/main">
  <p:tag name="NUM" val="1"/>
</p:tagLst>
</file>

<file path=ppt/tags/tag123.xml><?xml version="1.0" encoding="utf-8"?>
<p:tagLst xmlns:a="http://schemas.openxmlformats.org/drawingml/2006/main" xmlns:r="http://schemas.openxmlformats.org/officeDocument/2006/relationships" xmlns:p="http://schemas.openxmlformats.org/presentationml/2006/main">
  <p:tag name="NUM" val="2"/>
</p:tagLst>
</file>

<file path=ppt/tags/tag124.xml><?xml version="1.0" encoding="utf-8"?>
<p:tagLst xmlns:a="http://schemas.openxmlformats.org/drawingml/2006/main" xmlns:r="http://schemas.openxmlformats.org/officeDocument/2006/relationships" xmlns:p="http://schemas.openxmlformats.org/presentationml/2006/main">
  <p:tag name="NUM" val="3"/>
</p:tagLst>
</file>

<file path=ppt/tags/tag125.xml><?xml version="1.0" encoding="utf-8"?>
<p:tagLst xmlns:a="http://schemas.openxmlformats.org/drawingml/2006/main" xmlns:r="http://schemas.openxmlformats.org/officeDocument/2006/relationships" xmlns:p="http://schemas.openxmlformats.org/presentationml/2006/main">
  <p:tag name="NUM" val="4"/>
</p:tagLst>
</file>

<file path=ppt/tags/tag126.xml><?xml version="1.0" encoding="utf-8"?>
<p:tagLst xmlns:a="http://schemas.openxmlformats.org/drawingml/2006/main" xmlns:r="http://schemas.openxmlformats.org/officeDocument/2006/relationships" xmlns:p="http://schemas.openxmlformats.org/presentationml/2006/main">
  <p:tag name="NUM" val="5"/>
</p:tagLst>
</file>

<file path=ppt/tags/tag127.xml><?xml version="1.0" encoding="utf-8"?>
<p:tagLst xmlns:a="http://schemas.openxmlformats.org/drawingml/2006/main" xmlns:r="http://schemas.openxmlformats.org/officeDocument/2006/relationships" xmlns:p="http://schemas.openxmlformats.org/presentationml/2006/main">
  <p:tag name="NUM" val="6"/>
</p:tagLst>
</file>

<file path=ppt/tags/tag128.xml><?xml version="1.0" encoding="utf-8"?>
<p:tagLst xmlns:a="http://schemas.openxmlformats.org/drawingml/2006/main" xmlns:r="http://schemas.openxmlformats.org/officeDocument/2006/relationships" xmlns:p="http://schemas.openxmlformats.org/presentationml/2006/main">
  <p:tag name="NUM" val="7"/>
</p:tagLst>
</file>

<file path=ppt/tags/tag129.xml><?xml version="1.0" encoding="utf-8"?>
<p:tagLst xmlns:a="http://schemas.openxmlformats.org/drawingml/2006/main" xmlns:r="http://schemas.openxmlformats.org/officeDocument/2006/relationships" xmlns:p="http://schemas.openxmlformats.org/presentationml/2006/main">
  <p:tag name="NUM" val="8"/>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30.xml><?xml version="1.0" encoding="utf-8"?>
<p:tagLst xmlns:a="http://schemas.openxmlformats.org/drawingml/2006/main" xmlns:r="http://schemas.openxmlformats.org/officeDocument/2006/relationships" xmlns:p="http://schemas.openxmlformats.org/presentationml/2006/main">
  <p:tag name="NUM" val="9"/>
</p:tagLst>
</file>

<file path=ppt/tags/tag131.xml><?xml version="1.0" encoding="utf-8"?>
<p:tagLst xmlns:a="http://schemas.openxmlformats.org/drawingml/2006/main" xmlns:r="http://schemas.openxmlformats.org/officeDocument/2006/relationships" xmlns:p="http://schemas.openxmlformats.org/presentationml/2006/main">
  <p:tag name="NUM" val="10"/>
</p:tagLst>
</file>

<file path=ppt/tags/tag132.xml><?xml version="1.0" encoding="utf-8"?>
<p:tagLst xmlns:a="http://schemas.openxmlformats.org/drawingml/2006/main" xmlns:r="http://schemas.openxmlformats.org/officeDocument/2006/relationships" xmlns:p="http://schemas.openxmlformats.org/presentationml/2006/main">
  <p:tag name="NUM" val="11"/>
</p:tagLst>
</file>

<file path=ppt/tags/tag133.xml><?xml version="1.0" encoding="utf-8"?>
<p:tagLst xmlns:a="http://schemas.openxmlformats.org/drawingml/2006/main" xmlns:r="http://schemas.openxmlformats.org/officeDocument/2006/relationships" xmlns:p="http://schemas.openxmlformats.org/presentationml/2006/main">
  <p:tag name="NUM" val="1"/>
</p:tagLst>
</file>

<file path=ppt/tags/tag134.xml><?xml version="1.0" encoding="utf-8"?>
<p:tagLst xmlns:a="http://schemas.openxmlformats.org/drawingml/2006/main" xmlns:r="http://schemas.openxmlformats.org/officeDocument/2006/relationships" xmlns:p="http://schemas.openxmlformats.org/presentationml/2006/main">
  <p:tag name="NUM" val="2"/>
</p:tagLst>
</file>

<file path=ppt/tags/tag135.xml><?xml version="1.0" encoding="utf-8"?>
<p:tagLst xmlns:a="http://schemas.openxmlformats.org/drawingml/2006/main" xmlns:r="http://schemas.openxmlformats.org/officeDocument/2006/relationships" xmlns:p="http://schemas.openxmlformats.org/presentationml/2006/main">
  <p:tag name="NUM" val="3"/>
</p:tagLst>
</file>

<file path=ppt/tags/tag136.xml><?xml version="1.0" encoding="utf-8"?>
<p:tagLst xmlns:a="http://schemas.openxmlformats.org/drawingml/2006/main" xmlns:r="http://schemas.openxmlformats.org/officeDocument/2006/relationships" xmlns:p="http://schemas.openxmlformats.org/presentationml/2006/main">
  <p:tag name="NUM" val="4"/>
</p:tagLst>
</file>

<file path=ppt/tags/tag137.xml><?xml version="1.0" encoding="utf-8"?>
<p:tagLst xmlns:a="http://schemas.openxmlformats.org/drawingml/2006/main" xmlns:r="http://schemas.openxmlformats.org/officeDocument/2006/relationships" xmlns:p="http://schemas.openxmlformats.org/presentationml/2006/main">
  <p:tag name="NUM" val="5"/>
</p:tagLst>
</file>

<file path=ppt/tags/tag138.xml><?xml version="1.0" encoding="utf-8"?>
<p:tagLst xmlns:a="http://schemas.openxmlformats.org/drawingml/2006/main" xmlns:r="http://schemas.openxmlformats.org/officeDocument/2006/relationships" xmlns:p="http://schemas.openxmlformats.org/presentationml/2006/main">
  <p:tag name="NUM" val="6"/>
</p:tagLst>
</file>

<file path=ppt/tags/tag139.xml><?xml version="1.0" encoding="utf-8"?>
<p:tagLst xmlns:a="http://schemas.openxmlformats.org/drawingml/2006/main" xmlns:r="http://schemas.openxmlformats.org/officeDocument/2006/relationships" xmlns:p="http://schemas.openxmlformats.org/presentationml/2006/main">
  <p:tag name="NUM" val="7"/>
</p:tagLst>
</file>

<file path=ppt/tags/tag14.xml><?xml version="1.0" encoding="utf-8"?>
<p:tagLst xmlns:a="http://schemas.openxmlformats.org/drawingml/2006/main" xmlns:r="http://schemas.openxmlformats.org/officeDocument/2006/relationships" xmlns:p="http://schemas.openxmlformats.org/presentationml/2006/main">
  <p:tag name="NUM" val="7"/>
</p:tagLst>
</file>

<file path=ppt/tags/tag140.xml><?xml version="1.0" encoding="utf-8"?>
<p:tagLst xmlns:a="http://schemas.openxmlformats.org/drawingml/2006/main" xmlns:r="http://schemas.openxmlformats.org/officeDocument/2006/relationships" xmlns:p="http://schemas.openxmlformats.org/presentationml/2006/main">
  <p:tag name="NUM" val="8"/>
</p:tagLst>
</file>

<file path=ppt/tags/tag141.xml><?xml version="1.0" encoding="utf-8"?>
<p:tagLst xmlns:a="http://schemas.openxmlformats.org/drawingml/2006/main" xmlns:r="http://schemas.openxmlformats.org/officeDocument/2006/relationships" xmlns:p="http://schemas.openxmlformats.org/presentationml/2006/main">
  <p:tag name="NUM" val="9"/>
</p:tagLst>
</file>

<file path=ppt/tags/tag142.xml><?xml version="1.0" encoding="utf-8"?>
<p:tagLst xmlns:a="http://schemas.openxmlformats.org/drawingml/2006/main" xmlns:r="http://schemas.openxmlformats.org/officeDocument/2006/relationships" xmlns:p="http://schemas.openxmlformats.org/presentationml/2006/main">
  <p:tag name="NUM" val="10"/>
</p:tagLst>
</file>

<file path=ppt/tags/tag143.xml><?xml version="1.0" encoding="utf-8"?>
<p:tagLst xmlns:a="http://schemas.openxmlformats.org/drawingml/2006/main" xmlns:r="http://schemas.openxmlformats.org/officeDocument/2006/relationships" xmlns:p="http://schemas.openxmlformats.org/presentationml/2006/main">
  <p:tag name="NUM" val="1"/>
</p:tagLst>
</file>

<file path=ppt/tags/tag144.xml><?xml version="1.0" encoding="utf-8"?>
<p:tagLst xmlns:a="http://schemas.openxmlformats.org/drawingml/2006/main" xmlns:r="http://schemas.openxmlformats.org/officeDocument/2006/relationships" xmlns:p="http://schemas.openxmlformats.org/presentationml/2006/main">
  <p:tag name="NUM" val="2"/>
</p:tagLst>
</file>

<file path=ppt/tags/tag145.xml><?xml version="1.0" encoding="utf-8"?>
<p:tagLst xmlns:a="http://schemas.openxmlformats.org/drawingml/2006/main" xmlns:r="http://schemas.openxmlformats.org/officeDocument/2006/relationships" xmlns:p="http://schemas.openxmlformats.org/presentationml/2006/main">
  <p:tag name="NUM" val="3"/>
</p:tagLst>
</file>

<file path=ppt/tags/tag146.xml><?xml version="1.0" encoding="utf-8"?>
<p:tagLst xmlns:a="http://schemas.openxmlformats.org/drawingml/2006/main" xmlns:r="http://schemas.openxmlformats.org/officeDocument/2006/relationships" xmlns:p="http://schemas.openxmlformats.org/presentationml/2006/main">
  <p:tag name="NUM" val="4"/>
</p:tagLst>
</file>

<file path=ppt/tags/tag147.xml><?xml version="1.0" encoding="utf-8"?>
<p:tagLst xmlns:a="http://schemas.openxmlformats.org/drawingml/2006/main" xmlns:r="http://schemas.openxmlformats.org/officeDocument/2006/relationships" xmlns:p="http://schemas.openxmlformats.org/presentationml/2006/main">
  <p:tag name="NUM" val="5"/>
</p:tagLst>
</file>

<file path=ppt/tags/tag148.xml><?xml version="1.0" encoding="utf-8"?>
<p:tagLst xmlns:a="http://schemas.openxmlformats.org/drawingml/2006/main" xmlns:r="http://schemas.openxmlformats.org/officeDocument/2006/relationships" xmlns:p="http://schemas.openxmlformats.org/presentationml/2006/main">
  <p:tag name="NUM" val="6"/>
</p:tagLst>
</file>

<file path=ppt/tags/tag149.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8"/>
</p:tagLst>
</file>

<file path=ppt/tags/tag150.xml><?xml version="1.0" encoding="utf-8"?>
<p:tagLst xmlns:a="http://schemas.openxmlformats.org/drawingml/2006/main" xmlns:r="http://schemas.openxmlformats.org/officeDocument/2006/relationships" xmlns:p="http://schemas.openxmlformats.org/presentationml/2006/main">
  <p:tag name="NUM" val="2"/>
</p:tagLst>
</file>

<file path=ppt/tags/tag151.xml><?xml version="1.0" encoding="utf-8"?>
<p:tagLst xmlns:a="http://schemas.openxmlformats.org/drawingml/2006/main" xmlns:r="http://schemas.openxmlformats.org/officeDocument/2006/relationships" xmlns:p="http://schemas.openxmlformats.org/presentationml/2006/main">
  <p:tag name="NUM" val="3"/>
</p:tagLst>
</file>

<file path=ppt/tags/tag152.xml><?xml version="1.0" encoding="utf-8"?>
<p:tagLst xmlns:a="http://schemas.openxmlformats.org/drawingml/2006/main" xmlns:r="http://schemas.openxmlformats.org/officeDocument/2006/relationships" xmlns:p="http://schemas.openxmlformats.org/presentationml/2006/main">
  <p:tag name="NUM" val="4"/>
</p:tagLst>
</file>

<file path=ppt/tags/tag153.xml><?xml version="1.0" encoding="utf-8"?>
<p:tagLst xmlns:a="http://schemas.openxmlformats.org/drawingml/2006/main" xmlns:r="http://schemas.openxmlformats.org/officeDocument/2006/relationships" xmlns:p="http://schemas.openxmlformats.org/presentationml/2006/main">
  <p:tag name="NUM" val="5"/>
</p:tagLst>
</file>

<file path=ppt/tags/tag154.xml><?xml version="1.0" encoding="utf-8"?>
<p:tagLst xmlns:a="http://schemas.openxmlformats.org/drawingml/2006/main" xmlns:r="http://schemas.openxmlformats.org/officeDocument/2006/relationships" xmlns:p="http://schemas.openxmlformats.org/presentationml/2006/main">
  <p:tag name="NUM" val="6"/>
</p:tagLst>
</file>

<file path=ppt/tags/tag155.xml><?xml version="1.0" encoding="utf-8"?>
<p:tagLst xmlns:a="http://schemas.openxmlformats.org/drawingml/2006/main" xmlns:r="http://schemas.openxmlformats.org/officeDocument/2006/relationships" xmlns:p="http://schemas.openxmlformats.org/presentationml/2006/main">
  <p:tag name="NUM" val="1"/>
</p:tagLst>
</file>

<file path=ppt/tags/tag156.xml><?xml version="1.0" encoding="utf-8"?>
<p:tagLst xmlns:a="http://schemas.openxmlformats.org/drawingml/2006/main" xmlns:r="http://schemas.openxmlformats.org/officeDocument/2006/relationships" xmlns:p="http://schemas.openxmlformats.org/presentationml/2006/main">
  <p:tag name="NUM" val="2"/>
</p:tagLst>
</file>

<file path=ppt/tags/tag157.xml><?xml version="1.0" encoding="utf-8"?>
<p:tagLst xmlns:a="http://schemas.openxmlformats.org/drawingml/2006/main" xmlns:r="http://schemas.openxmlformats.org/officeDocument/2006/relationships" xmlns:p="http://schemas.openxmlformats.org/presentationml/2006/main">
  <p:tag name="NUM" val="3"/>
</p:tagLst>
</file>

<file path=ppt/tags/tag158.xml><?xml version="1.0" encoding="utf-8"?>
<p:tagLst xmlns:a="http://schemas.openxmlformats.org/drawingml/2006/main" xmlns:r="http://schemas.openxmlformats.org/officeDocument/2006/relationships" xmlns:p="http://schemas.openxmlformats.org/presentationml/2006/main">
  <p:tag name="NUM" val="4"/>
</p:tagLst>
</file>

<file path=ppt/tags/tag159.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NUM" val="9"/>
</p:tagLst>
</file>

<file path=ppt/tags/tag160.xml><?xml version="1.0" encoding="utf-8"?>
<p:tagLst xmlns:a="http://schemas.openxmlformats.org/drawingml/2006/main" xmlns:r="http://schemas.openxmlformats.org/officeDocument/2006/relationships" xmlns:p="http://schemas.openxmlformats.org/presentationml/2006/main">
  <p:tag name="NUM" val="6"/>
</p:tagLst>
</file>

<file path=ppt/tags/tag161.xml><?xml version="1.0" encoding="utf-8"?>
<p:tagLst xmlns:a="http://schemas.openxmlformats.org/drawingml/2006/main" xmlns:r="http://schemas.openxmlformats.org/officeDocument/2006/relationships" xmlns:p="http://schemas.openxmlformats.org/presentationml/2006/main">
  <p:tag name="NUM" val="1"/>
</p:tagLst>
</file>

<file path=ppt/tags/tag162.xml><?xml version="1.0" encoding="utf-8"?>
<p:tagLst xmlns:a="http://schemas.openxmlformats.org/drawingml/2006/main" xmlns:r="http://schemas.openxmlformats.org/officeDocument/2006/relationships" xmlns:p="http://schemas.openxmlformats.org/presentationml/2006/main">
  <p:tag name="NUM" val="2"/>
</p:tagLst>
</file>

<file path=ppt/tags/tag163.xml><?xml version="1.0" encoding="utf-8"?>
<p:tagLst xmlns:a="http://schemas.openxmlformats.org/drawingml/2006/main" xmlns:r="http://schemas.openxmlformats.org/officeDocument/2006/relationships" xmlns:p="http://schemas.openxmlformats.org/presentationml/2006/main">
  <p:tag name="NUM" val="3"/>
</p:tagLst>
</file>

<file path=ppt/tags/tag164.xml><?xml version="1.0" encoding="utf-8"?>
<p:tagLst xmlns:a="http://schemas.openxmlformats.org/drawingml/2006/main" xmlns:r="http://schemas.openxmlformats.org/officeDocument/2006/relationships" xmlns:p="http://schemas.openxmlformats.org/presentationml/2006/main">
  <p:tag name="NUM" val="4"/>
</p:tagLst>
</file>

<file path=ppt/tags/tag165.xml><?xml version="1.0" encoding="utf-8"?>
<p:tagLst xmlns:a="http://schemas.openxmlformats.org/drawingml/2006/main" xmlns:r="http://schemas.openxmlformats.org/officeDocument/2006/relationships" xmlns:p="http://schemas.openxmlformats.org/presentationml/2006/main">
  <p:tag name="NUM" val="5"/>
</p:tagLst>
</file>

<file path=ppt/tags/tag166.xml><?xml version="1.0" encoding="utf-8"?>
<p:tagLst xmlns:a="http://schemas.openxmlformats.org/drawingml/2006/main" xmlns:r="http://schemas.openxmlformats.org/officeDocument/2006/relationships" xmlns:p="http://schemas.openxmlformats.org/presentationml/2006/main">
  <p:tag name="NUM" val="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3"/>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1"/>
</p:tagLst>
</file>

<file path=ppt/tags/tag27.xml><?xml version="1.0" encoding="utf-8"?>
<p:tagLst xmlns:a="http://schemas.openxmlformats.org/drawingml/2006/main" xmlns:r="http://schemas.openxmlformats.org/officeDocument/2006/relationships" xmlns:p="http://schemas.openxmlformats.org/presentationml/2006/main">
  <p:tag name="NUM" val="2"/>
</p:tagLst>
</file>

<file path=ppt/tags/tag28.xml><?xml version="1.0" encoding="utf-8"?>
<p:tagLst xmlns:a="http://schemas.openxmlformats.org/drawingml/2006/main" xmlns:r="http://schemas.openxmlformats.org/officeDocument/2006/relationships" xmlns:p="http://schemas.openxmlformats.org/presentationml/2006/main">
  <p:tag name="NUM" val="3"/>
</p:tagLst>
</file>

<file path=ppt/tags/tag29.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2"/>
</p:tagLst>
</file>

<file path=ppt/tags/tag32.xml><?xml version="1.0" encoding="utf-8"?>
<p:tagLst xmlns:a="http://schemas.openxmlformats.org/drawingml/2006/main" xmlns:r="http://schemas.openxmlformats.org/officeDocument/2006/relationships" xmlns:p="http://schemas.openxmlformats.org/presentationml/2006/main">
  <p:tag name="NUM" val="1"/>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3"/>
</p:tagLst>
</file>

<file path=ppt/tags/tag35.xml><?xml version="1.0" encoding="utf-8"?>
<p:tagLst xmlns:a="http://schemas.openxmlformats.org/drawingml/2006/main" xmlns:r="http://schemas.openxmlformats.org/officeDocument/2006/relationships" xmlns:p="http://schemas.openxmlformats.org/presentationml/2006/main">
  <p:tag name="NUM" val="4"/>
</p:tagLst>
</file>

<file path=ppt/tags/tag36.xml><?xml version="1.0" encoding="utf-8"?>
<p:tagLst xmlns:a="http://schemas.openxmlformats.org/drawingml/2006/main" xmlns:r="http://schemas.openxmlformats.org/officeDocument/2006/relationships" xmlns:p="http://schemas.openxmlformats.org/presentationml/2006/main">
  <p:tag name="NUM" val="5"/>
</p:tagLst>
</file>

<file path=ppt/tags/tag37.xml><?xml version="1.0" encoding="utf-8"?>
<p:tagLst xmlns:a="http://schemas.openxmlformats.org/drawingml/2006/main" xmlns:r="http://schemas.openxmlformats.org/officeDocument/2006/relationships" xmlns:p="http://schemas.openxmlformats.org/presentationml/2006/main">
  <p:tag name="NUM" val="6"/>
</p:tagLst>
</file>

<file path=ppt/tags/tag38.xml><?xml version="1.0" encoding="utf-8"?>
<p:tagLst xmlns:a="http://schemas.openxmlformats.org/drawingml/2006/main" xmlns:r="http://schemas.openxmlformats.org/officeDocument/2006/relationships" xmlns:p="http://schemas.openxmlformats.org/presentationml/2006/main">
  <p:tag name="NUM" val="7"/>
</p:tagLst>
</file>

<file path=ppt/tags/tag39.xml><?xml version="1.0" encoding="utf-8"?>
<p:tagLst xmlns:a="http://schemas.openxmlformats.org/drawingml/2006/main" xmlns:r="http://schemas.openxmlformats.org/officeDocument/2006/relationships" xmlns:p="http://schemas.openxmlformats.org/presentationml/2006/main">
  <p:tag name="NUM" val="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9"/>
</p:tagLst>
</file>

<file path=ppt/tags/tag41.xml><?xml version="1.0" encoding="utf-8"?>
<p:tagLst xmlns:a="http://schemas.openxmlformats.org/drawingml/2006/main" xmlns:r="http://schemas.openxmlformats.org/officeDocument/2006/relationships" xmlns:p="http://schemas.openxmlformats.org/presentationml/2006/main">
  <p:tag name="NUM" val="10"/>
</p:tagLst>
</file>

<file path=ppt/tags/tag42.xml><?xml version="1.0" encoding="utf-8"?>
<p:tagLst xmlns:a="http://schemas.openxmlformats.org/drawingml/2006/main" xmlns:r="http://schemas.openxmlformats.org/officeDocument/2006/relationships" xmlns:p="http://schemas.openxmlformats.org/presentationml/2006/main">
  <p:tag name="NUM" val="11"/>
</p:tagLst>
</file>

<file path=ppt/tags/tag43.xml><?xml version="1.0" encoding="utf-8"?>
<p:tagLst xmlns:a="http://schemas.openxmlformats.org/drawingml/2006/main" xmlns:r="http://schemas.openxmlformats.org/officeDocument/2006/relationships" xmlns:p="http://schemas.openxmlformats.org/presentationml/2006/main">
  <p:tag name="NUM" val="12"/>
</p:tagLst>
</file>

<file path=ppt/tags/tag44.xml><?xml version="1.0" encoding="utf-8"?>
<p:tagLst xmlns:a="http://schemas.openxmlformats.org/drawingml/2006/main" xmlns:r="http://schemas.openxmlformats.org/officeDocument/2006/relationships" xmlns:p="http://schemas.openxmlformats.org/presentationml/2006/main">
  <p:tag name="NUM" val="13"/>
</p:tagLst>
</file>

<file path=ppt/tags/tag45.xml><?xml version="1.0" encoding="utf-8"?>
<p:tagLst xmlns:a="http://schemas.openxmlformats.org/drawingml/2006/main" xmlns:r="http://schemas.openxmlformats.org/officeDocument/2006/relationships" xmlns:p="http://schemas.openxmlformats.org/presentationml/2006/main">
  <p:tag name="NUM" val="14"/>
</p:tagLst>
</file>

<file path=ppt/tags/tag46.xml><?xml version="1.0" encoding="utf-8"?>
<p:tagLst xmlns:a="http://schemas.openxmlformats.org/drawingml/2006/main" xmlns:r="http://schemas.openxmlformats.org/officeDocument/2006/relationships" xmlns:p="http://schemas.openxmlformats.org/presentationml/2006/main">
  <p:tag name="NUM" val="15"/>
</p:tagLst>
</file>

<file path=ppt/tags/tag47.xml><?xml version="1.0" encoding="utf-8"?>
<p:tagLst xmlns:a="http://schemas.openxmlformats.org/drawingml/2006/main" xmlns:r="http://schemas.openxmlformats.org/officeDocument/2006/relationships" xmlns:p="http://schemas.openxmlformats.org/presentationml/2006/main">
  <p:tag name="NUM" val="16"/>
</p:tagLst>
</file>

<file path=ppt/tags/tag48.xml><?xml version="1.0" encoding="utf-8"?>
<p:tagLst xmlns:a="http://schemas.openxmlformats.org/drawingml/2006/main" xmlns:r="http://schemas.openxmlformats.org/officeDocument/2006/relationships" xmlns:p="http://schemas.openxmlformats.org/presentationml/2006/main">
  <p:tag name="NUM" val="17"/>
</p:tagLst>
</file>

<file path=ppt/tags/tag49.xml><?xml version="1.0" encoding="utf-8"?>
<p:tagLst xmlns:a="http://schemas.openxmlformats.org/drawingml/2006/main" xmlns:r="http://schemas.openxmlformats.org/officeDocument/2006/relationships" xmlns:p="http://schemas.openxmlformats.org/presentationml/2006/main">
  <p:tag name="NUM" val="1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9"/>
</p:tagLst>
</file>

<file path=ppt/tags/tag51.xml><?xml version="1.0" encoding="utf-8"?>
<p:tagLst xmlns:a="http://schemas.openxmlformats.org/drawingml/2006/main" xmlns:r="http://schemas.openxmlformats.org/officeDocument/2006/relationships" xmlns:p="http://schemas.openxmlformats.org/presentationml/2006/main">
  <p:tag name="NUM" val="20"/>
</p:tagLst>
</file>

<file path=ppt/tags/tag52.xml><?xml version="1.0" encoding="utf-8"?>
<p:tagLst xmlns:a="http://schemas.openxmlformats.org/drawingml/2006/main" xmlns:r="http://schemas.openxmlformats.org/officeDocument/2006/relationships" xmlns:p="http://schemas.openxmlformats.org/presentationml/2006/main">
  <p:tag name="NUM" val="1"/>
</p:tagLst>
</file>

<file path=ppt/tags/tag53.xml><?xml version="1.0" encoding="utf-8"?>
<p:tagLst xmlns:a="http://schemas.openxmlformats.org/drawingml/2006/main" xmlns:r="http://schemas.openxmlformats.org/officeDocument/2006/relationships" xmlns:p="http://schemas.openxmlformats.org/presentationml/2006/main">
  <p:tag name="NUM" val="2"/>
</p:tagLst>
</file>

<file path=ppt/tags/tag54.xml><?xml version="1.0" encoding="utf-8"?>
<p:tagLst xmlns:a="http://schemas.openxmlformats.org/drawingml/2006/main" xmlns:r="http://schemas.openxmlformats.org/officeDocument/2006/relationships" xmlns:p="http://schemas.openxmlformats.org/presentationml/2006/main">
  <p:tag name="NUM" val="3"/>
</p:tagLst>
</file>

<file path=ppt/tags/tag55.xml><?xml version="1.0" encoding="utf-8"?>
<p:tagLst xmlns:a="http://schemas.openxmlformats.org/drawingml/2006/main" xmlns:r="http://schemas.openxmlformats.org/officeDocument/2006/relationships" xmlns:p="http://schemas.openxmlformats.org/presentationml/2006/main">
  <p:tag name="NUM" val="4"/>
</p:tagLst>
</file>

<file path=ppt/tags/tag56.xml><?xml version="1.0" encoding="utf-8"?>
<p:tagLst xmlns:a="http://schemas.openxmlformats.org/drawingml/2006/main" xmlns:r="http://schemas.openxmlformats.org/officeDocument/2006/relationships" xmlns:p="http://schemas.openxmlformats.org/presentationml/2006/main">
  <p:tag name="NUM" val="5"/>
</p:tagLst>
</file>

<file path=ppt/tags/tag57.xml><?xml version="1.0" encoding="utf-8"?>
<p:tagLst xmlns:a="http://schemas.openxmlformats.org/drawingml/2006/main" xmlns:r="http://schemas.openxmlformats.org/officeDocument/2006/relationships" xmlns:p="http://schemas.openxmlformats.org/presentationml/2006/main">
  <p:tag name="NUM" val="6"/>
</p:tagLst>
</file>

<file path=ppt/tags/tag58.xml><?xml version="1.0" encoding="utf-8"?>
<p:tagLst xmlns:a="http://schemas.openxmlformats.org/drawingml/2006/main" xmlns:r="http://schemas.openxmlformats.org/officeDocument/2006/relationships" xmlns:p="http://schemas.openxmlformats.org/presentationml/2006/main">
  <p:tag name="NUM" val="7"/>
</p:tagLst>
</file>

<file path=ppt/tags/tag59.xml><?xml version="1.0" encoding="utf-8"?>
<p:tagLst xmlns:a="http://schemas.openxmlformats.org/drawingml/2006/main" xmlns:r="http://schemas.openxmlformats.org/officeDocument/2006/relationships" xmlns:p="http://schemas.openxmlformats.org/presentationml/2006/main">
  <p:tag name="NUM" val="8"/>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9"/>
</p:tagLst>
</file>

<file path=ppt/tags/tag61.xml><?xml version="1.0" encoding="utf-8"?>
<p:tagLst xmlns:a="http://schemas.openxmlformats.org/drawingml/2006/main" xmlns:r="http://schemas.openxmlformats.org/officeDocument/2006/relationships" xmlns:p="http://schemas.openxmlformats.org/presentationml/2006/main">
  <p:tag name="NUM" val="10"/>
</p:tagLst>
</file>

<file path=ppt/tags/tag62.xml><?xml version="1.0" encoding="utf-8"?>
<p:tagLst xmlns:a="http://schemas.openxmlformats.org/drawingml/2006/main" xmlns:r="http://schemas.openxmlformats.org/officeDocument/2006/relationships" xmlns:p="http://schemas.openxmlformats.org/presentationml/2006/main">
  <p:tag name="NUM" val="11"/>
</p:tagLst>
</file>

<file path=ppt/tags/tag63.xml><?xml version="1.0" encoding="utf-8"?>
<p:tagLst xmlns:a="http://schemas.openxmlformats.org/drawingml/2006/main" xmlns:r="http://schemas.openxmlformats.org/officeDocument/2006/relationships" xmlns:p="http://schemas.openxmlformats.org/presentationml/2006/main">
  <p:tag name="NUM" val="12"/>
</p:tagLst>
</file>

<file path=ppt/tags/tag64.xml><?xml version="1.0" encoding="utf-8"?>
<p:tagLst xmlns:a="http://schemas.openxmlformats.org/drawingml/2006/main" xmlns:r="http://schemas.openxmlformats.org/officeDocument/2006/relationships" xmlns:p="http://schemas.openxmlformats.org/presentationml/2006/main">
  <p:tag name="NUM" val="13"/>
</p:tagLst>
</file>

<file path=ppt/tags/tag65.xml><?xml version="1.0" encoding="utf-8"?>
<p:tagLst xmlns:a="http://schemas.openxmlformats.org/drawingml/2006/main" xmlns:r="http://schemas.openxmlformats.org/officeDocument/2006/relationships" xmlns:p="http://schemas.openxmlformats.org/presentationml/2006/main">
  <p:tag name="NUM" val="14"/>
</p:tagLst>
</file>

<file path=ppt/tags/tag66.xml><?xml version="1.0" encoding="utf-8"?>
<p:tagLst xmlns:a="http://schemas.openxmlformats.org/drawingml/2006/main" xmlns:r="http://schemas.openxmlformats.org/officeDocument/2006/relationships" xmlns:p="http://schemas.openxmlformats.org/presentationml/2006/main">
  <p:tag name="NUM" val="15"/>
</p:tagLst>
</file>

<file path=ppt/tags/tag67.xml><?xml version="1.0" encoding="utf-8"?>
<p:tagLst xmlns:a="http://schemas.openxmlformats.org/drawingml/2006/main" xmlns:r="http://schemas.openxmlformats.org/officeDocument/2006/relationships" xmlns:p="http://schemas.openxmlformats.org/presentationml/2006/main">
  <p:tag name="NUM" val="16"/>
</p:tagLst>
</file>

<file path=ppt/tags/tag68.xml><?xml version="1.0" encoding="utf-8"?>
<p:tagLst xmlns:a="http://schemas.openxmlformats.org/drawingml/2006/main" xmlns:r="http://schemas.openxmlformats.org/officeDocument/2006/relationships" xmlns:p="http://schemas.openxmlformats.org/presentationml/2006/main">
  <p:tag name="NUM" val="17"/>
</p:tagLst>
</file>

<file path=ppt/tags/tag69.xml><?xml version="1.0" encoding="utf-8"?>
<p:tagLst xmlns:a="http://schemas.openxmlformats.org/drawingml/2006/main" xmlns:r="http://schemas.openxmlformats.org/officeDocument/2006/relationships" xmlns:p="http://schemas.openxmlformats.org/presentationml/2006/main">
  <p:tag name="NUM" val="18"/>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9"/>
</p:tagLst>
</file>

<file path=ppt/tags/tag71.xml><?xml version="1.0" encoding="utf-8"?>
<p:tagLst xmlns:a="http://schemas.openxmlformats.org/drawingml/2006/main" xmlns:r="http://schemas.openxmlformats.org/officeDocument/2006/relationships" xmlns:p="http://schemas.openxmlformats.org/presentationml/2006/main">
  <p:tag name="NUM" val="20"/>
</p:tagLst>
</file>

<file path=ppt/tags/tag72.xml><?xml version="1.0" encoding="utf-8"?>
<p:tagLst xmlns:a="http://schemas.openxmlformats.org/drawingml/2006/main" xmlns:r="http://schemas.openxmlformats.org/officeDocument/2006/relationships" xmlns:p="http://schemas.openxmlformats.org/presentationml/2006/main">
  <p:tag name="NUM" val="21"/>
</p:tagLst>
</file>

<file path=ppt/tags/tag73.xml><?xml version="1.0" encoding="utf-8"?>
<p:tagLst xmlns:a="http://schemas.openxmlformats.org/drawingml/2006/main" xmlns:r="http://schemas.openxmlformats.org/officeDocument/2006/relationships" xmlns:p="http://schemas.openxmlformats.org/presentationml/2006/main">
  <p:tag name="NUM" val="22"/>
</p:tagLst>
</file>

<file path=ppt/tags/tag74.xml><?xml version="1.0" encoding="utf-8"?>
<p:tagLst xmlns:a="http://schemas.openxmlformats.org/drawingml/2006/main" xmlns:r="http://schemas.openxmlformats.org/officeDocument/2006/relationships" xmlns:p="http://schemas.openxmlformats.org/presentationml/2006/main">
  <p:tag name="NUM" val="23"/>
</p:tagLst>
</file>

<file path=ppt/tags/tag75.xml><?xml version="1.0" encoding="utf-8"?>
<p:tagLst xmlns:a="http://schemas.openxmlformats.org/drawingml/2006/main" xmlns:r="http://schemas.openxmlformats.org/officeDocument/2006/relationships" xmlns:p="http://schemas.openxmlformats.org/presentationml/2006/main">
  <p:tag name="NUM" val="24"/>
</p:tagLst>
</file>

<file path=ppt/tags/tag76.xml><?xml version="1.0" encoding="utf-8"?>
<p:tagLst xmlns:a="http://schemas.openxmlformats.org/drawingml/2006/main" xmlns:r="http://schemas.openxmlformats.org/officeDocument/2006/relationships" xmlns:p="http://schemas.openxmlformats.org/presentationml/2006/main">
  <p:tag name="NUM" val="25"/>
</p:tagLst>
</file>

<file path=ppt/tags/tag77.xml><?xml version="1.0" encoding="utf-8"?>
<p:tagLst xmlns:a="http://schemas.openxmlformats.org/drawingml/2006/main" xmlns:r="http://schemas.openxmlformats.org/officeDocument/2006/relationships" xmlns:p="http://schemas.openxmlformats.org/presentationml/2006/main">
  <p:tag name="NUM" val="26"/>
</p:tagLst>
</file>

<file path=ppt/tags/tag78.xml><?xml version="1.0" encoding="utf-8"?>
<p:tagLst xmlns:a="http://schemas.openxmlformats.org/drawingml/2006/main" xmlns:r="http://schemas.openxmlformats.org/officeDocument/2006/relationships" xmlns:p="http://schemas.openxmlformats.org/presentationml/2006/main">
  <p:tag name="NUM" val="27"/>
</p:tagLst>
</file>

<file path=ppt/tags/tag79.xml><?xml version="1.0" encoding="utf-8"?>
<p:tagLst xmlns:a="http://schemas.openxmlformats.org/drawingml/2006/main" xmlns:r="http://schemas.openxmlformats.org/officeDocument/2006/relationships" xmlns:p="http://schemas.openxmlformats.org/presentationml/2006/main">
  <p:tag name="NUM" val="28"/>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80.xml><?xml version="1.0" encoding="utf-8"?>
<p:tagLst xmlns:a="http://schemas.openxmlformats.org/drawingml/2006/main" xmlns:r="http://schemas.openxmlformats.org/officeDocument/2006/relationships" xmlns:p="http://schemas.openxmlformats.org/presentationml/2006/main">
  <p:tag name="NUM" val="29"/>
</p:tagLst>
</file>

<file path=ppt/tags/tag81.xml><?xml version="1.0" encoding="utf-8"?>
<p:tagLst xmlns:a="http://schemas.openxmlformats.org/drawingml/2006/main" xmlns:r="http://schemas.openxmlformats.org/officeDocument/2006/relationships" xmlns:p="http://schemas.openxmlformats.org/presentationml/2006/main">
  <p:tag name="NUM" val="30"/>
</p:tagLst>
</file>

<file path=ppt/tags/tag82.xml><?xml version="1.0" encoding="utf-8"?>
<p:tagLst xmlns:a="http://schemas.openxmlformats.org/drawingml/2006/main" xmlns:r="http://schemas.openxmlformats.org/officeDocument/2006/relationships" xmlns:p="http://schemas.openxmlformats.org/presentationml/2006/main">
  <p:tag name="NUM" val="31"/>
</p:tagLst>
</file>

<file path=ppt/tags/tag83.xml><?xml version="1.0" encoding="utf-8"?>
<p:tagLst xmlns:a="http://schemas.openxmlformats.org/drawingml/2006/main" xmlns:r="http://schemas.openxmlformats.org/officeDocument/2006/relationships" xmlns:p="http://schemas.openxmlformats.org/presentationml/2006/main">
  <p:tag name="NUM" val="32"/>
</p:tagLst>
</file>

<file path=ppt/tags/tag84.xml><?xml version="1.0" encoding="utf-8"?>
<p:tagLst xmlns:a="http://schemas.openxmlformats.org/drawingml/2006/main" xmlns:r="http://schemas.openxmlformats.org/officeDocument/2006/relationships" xmlns:p="http://schemas.openxmlformats.org/presentationml/2006/main">
  <p:tag name="NUM" val="33"/>
</p:tagLst>
</file>

<file path=ppt/tags/tag85.xml><?xml version="1.0" encoding="utf-8"?>
<p:tagLst xmlns:a="http://schemas.openxmlformats.org/drawingml/2006/main" xmlns:r="http://schemas.openxmlformats.org/officeDocument/2006/relationships" xmlns:p="http://schemas.openxmlformats.org/presentationml/2006/main">
  <p:tag name="NUM" val="34"/>
</p:tagLst>
</file>

<file path=ppt/tags/tag86.xml><?xml version="1.0" encoding="utf-8"?>
<p:tagLst xmlns:a="http://schemas.openxmlformats.org/drawingml/2006/main" xmlns:r="http://schemas.openxmlformats.org/officeDocument/2006/relationships" xmlns:p="http://schemas.openxmlformats.org/presentationml/2006/main">
  <p:tag name="NUM" val="35"/>
</p:tagLst>
</file>

<file path=ppt/tags/tag87.xml><?xml version="1.0" encoding="utf-8"?>
<p:tagLst xmlns:a="http://schemas.openxmlformats.org/drawingml/2006/main" xmlns:r="http://schemas.openxmlformats.org/officeDocument/2006/relationships" xmlns:p="http://schemas.openxmlformats.org/presentationml/2006/main">
  <p:tag name="NUM" val="36"/>
</p:tagLst>
</file>

<file path=ppt/tags/tag88.xml><?xml version="1.0" encoding="utf-8"?>
<p:tagLst xmlns:a="http://schemas.openxmlformats.org/drawingml/2006/main" xmlns:r="http://schemas.openxmlformats.org/officeDocument/2006/relationships" xmlns:p="http://schemas.openxmlformats.org/presentationml/2006/main">
  <p:tag name="NUM" val="37"/>
</p:tagLst>
</file>

<file path=ppt/tags/tag89.xml><?xml version="1.0" encoding="utf-8"?>
<p:tagLst xmlns:a="http://schemas.openxmlformats.org/drawingml/2006/main" xmlns:r="http://schemas.openxmlformats.org/officeDocument/2006/relationships" xmlns:p="http://schemas.openxmlformats.org/presentationml/2006/main">
  <p:tag name="NUM" val="38"/>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ags/tag90.xml><?xml version="1.0" encoding="utf-8"?>
<p:tagLst xmlns:a="http://schemas.openxmlformats.org/drawingml/2006/main" xmlns:r="http://schemas.openxmlformats.org/officeDocument/2006/relationships" xmlns:p="http://schemas.openxmlformats.org/presentationml/2006/main">
  <p:tag name="NUM" val="39"/>
</p:tagLst>
</file>

<file path=ppt/tags/tag91.xml><?xml version="1.0" encoding="utf-8"?>
<p:tagLst xmlns:a="http://schemas.openxmlformats.org/drawingml/2006/main" xmlns:r="http://schemas.openxmlformats.org/officeDocument/2006/relationships" xmlns:p="http://schemas.openxmlformats.org/presentationml/2006/main">
  <p:tag name="NUM" val="40"/>
</p:tagLst>
</file>

<file path=ppt/tags/tag92.xml><?xml version="1.0" encoding="utf-8"?>
<p:tagLst xmlns:a="http://schemas.openxmlformats.org/drawingml/2006/main" xmlns:r="http://schemas.openxmlformats.org/officeDocument/2006/relationships" xmlns:p="http://schemas.openxmlformats.org/presentationml/2006/main">
  <p:tag name="NUM" val="41"/>
</p:tagLst>
</file>

<file path=ppt/tags/tag93.xml><?xml version="1.0" encoding="utf-8"?>
<p:tagLst xmlns:a="http://schemas.openxmlformats.org/drawingml/2006/main" xmlns:r="http://schemas.openxmlformats.org/officeDocument/2006/relationships" xmlns:p="http://schemas.openxmlformats.org/presentationml/2006/main">
  <p:tag name="NUM" val="42"/>
</p:tagLst>
</file>

<file path=ppt/tags/tag94.xml><?xml version="1.0" encoding="utf-8"?>
<p:tagLst xmlns:a="http://schemas.openxmlformats.org/drawingml/2006/main" xmlns:r="http://schemas.openxmlformats.org/officeDocument/2006/relationships" xmlns:p="http://schemas.openxmlformats.org/presentationml/2006/main">
  <p:tag name="NUM" val="43"/>
</p:tagLst>
</file>

<file path=ppt/tags/tag95.xml><?xml version="1.0" encoding="utf-8"?>
<p:tagLst xmlns:a="http://schemas.openxmlformats.org/drawingml/2006/main" xmlns:r="http://schemas.openxmlformats.org/officeDocument/2006/relationships" xmlns:p="http://schemas.openxmlformats.org/presentationml/2006/main">
  <p:tag name="NUM" val="44"/>
</p:tagLst>
</file>

<file path=ppt/tags/tag96.xml><?xml version="1.0" encoding="utf-8"?>
<p:tagLst xmlns:a="http://schemas.openxmlformats.org/drawingml/2006/main" xmlns:r="http://schemas.openxmlformats.org/officeDocument/2006/relationships" xmlns:p="http://schemas.openxmlformats.org/presentationml/2006/main">
  <p:tag name="NUM" val="45"/>
</p:tagLst>
</file>

<file path=ppt/tags/tag97.xml><?xml version="1.0" encoding="utf-8"?>
<p:tagLst xmlns:a="http://schemas.openxmlformats.org/drawingml/2006/main" xmlns:r="http://schemas.openxmlformats.org/officeDocument/2006/relationships" xmlns:p="http://schemas.openxmlformats.org/presentationml/2006/main">
  <p:tag name="NUM" val="46"/>
</p:tagLst>
</file>

<file path=ppt/tags/tag98.xml><?xml version="1.0" encoding="utf-8"?>
<p:tagLst xmlns:a="http://schemas.openxmlformats.org/drawingml/2006/main" xmlns:r="http://schemas.openxmlformats.org/officeDocument/2006/relationships" xmlns:p="http://schemas.openxmlformats.org/presentationml/2006/main">
  <p:tag name="NUM" val="47"/>
</p:tagLst>
</file>

<file path=ppt/tags/tag99.xml><?xml version="1.0" encoding="utf-8"?>
<p:tagLst xmlns:a="http://schemas.openxmlformats.org/drawingml/2006/main" xmlns:r="http://schemas.openxmlformats.org/officeDocument/2006/relationships" xmlns:p="http://schemas.openxmlformats.org/presentationml/2006/main">
  <p:tag name="NUM" val="48"/>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Custom 1">
      <a:majorFont>
        <a:latin typeface="Arial Rounded MT Bold"/>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75</TotalTime>
  <Words>1876</Words>
  <Application>Microsoft Office PowerPoint</Application>
  <PresentationFormat>Widescreen</PresentationFormat>
  <Paragraphs>157</Paragraphs>
  <Slides>21</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Arial Rounded MT Bold</vt:lpstr>
      <vt:lpstr>Avenir Next LT Pro</vt:lpstr>
      <vt:lpstr>Calibri</vt:lpstr>
      <vt:lpstr>Calibri Light</vt:lpstr>
      <vt:lpstr>Courier New</vt:lpstr>
      <vt:lpstr>Georgia</vt:lpstr>
      <vt:lpstr>1_Office Theme</vt:lpstr>
      <vt:lpstr>think-cell Slide</vt:lpstr>
      <vt:lpstr>Notre projet d'optimisation du milieu de travail</vt:lpstr>
      <vt:lpstr>Comment utiliser ce document</vt:lpstr>
      <vt:lpstr>Vue d'ensemble</vt:lpstr>
      <vt:lpstr>Contexte</vt:lpstr>
      <vt:lpstr>Le portefeuille de locaux à bureaux du gouvernement du Canada</vt:lpstr>
      <vt:lpstr>Postes de travail non attribués par défaut : L'impact sur le portefeuille de locaux à bureaux du gouvernement du Canada </vt:lpstr>
      <vt:lpstr>Notre vision</vt:lpstr>
      <vt:lpstr>Qu'est-ce que cela signifie pour notre organisation?</vt:lpstr>
      <vt:lpstr>Échéancier</vt:lpstr>
      <vt:lpstr>Le rôle des leaders du point de vue de la gestion du changement</vt:lpstr>
      <vt:lpstr>Mon rôle en tant que parrain du projet d'optimisation</vt:lpstr>
      <vt:lpstr>Votre rôle de leader</vt:lpstr>
      <vt:lpstr>Saisissez les occasions de jouer votre rôle</vt:lpstr>
      <vt:lpstr>Faites preuve de compassion et de grâce</vt:lpstr>
      <vt:lpstr>Gestion du changement et impact du leadership </vt:lpstr>
      <vt:lpstr>Réactions au changement</vt:lpstr>
      <vt:lpstr>L’importance d’avoir des leaders forts – Étude des personas</vt:lpstr>
      <vt:lpstr>Les préoccupations de José en matière de sécurité</vt:lpstr>
      <vt:lpstr>Le poste de travail de John</vt:lpstr>
      <vt:lpstr>Bureau de Nina</vt:lpstr>
      <vt:lpstr>L'environnement bruyant de Pasca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BCEFC49575A942F57BCD9B5EE1E53FFA</cp:keywords>
  <cp:lastModifiedBy>Menard, Alexandrine (SPAC/PSPC)</cp:lastModifiedBy>
  <cp:revision>22</cp:revision>
  <dcterms:created xsi:type="dcterms:W3CDTF">2018-01-23T15:59:12Z</dcterms:created>
  <dcterms:modified xsi:type="dcterms:W3CDTF">2024-11-21T20:2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1T19:43:1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16bedad-ed97-47f6-b879-9e8e3511622d</vt:lpwstr>
  </property>
  <property fmtid="{D5CDD505-2E9C-101B-9397-08002B2CF9AE}" pid="8" name="MSIP_Label_834ed4f5-eae4-40c7-82be-b1cdf720a1b9_ContentBits">
    <vt:lpwstr>0</vt:lpwstr>
  </property>
</Properties>
</file>